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</p:sldMasterIdLst>
  <p:notesMasterIdLst>
    <p:notesMasterId r:id="rId14"/>
  </p:notesMasterIdLst>
  <p:sldIdLst>
    <p:sldId id="2147470033" r:id="rId3"/>
    <p:sldId id="2147470034" r:id="rId4"/>
    <p:sldId id="2147470036" r:id="rId5"/>
    <p:sldId id="2147470032" r:id="rId6"/>
    <p:sldId id="2147470044" r:id="rId7"/>
    <p:sldId id="2147470055" r:id="rId8"/>
    <p:sldId id="2147470053" r:id="rId9"/>
    <p:sldId id="2147470057" r:id="rId10"/>
    <p:sldId id="2147470045" r:id="rId11"/>
    <p:sldId id="2147470054" r:id="rId12"/>
    <p:sldId id="214747005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4414A16-4759-4AF8-8AB9-7C83D2325775}">
          <p14:sldIdLst>
            <p14:sldId id="2147470033"/>
            <p14:sldId id="2147470034"/>
            <p14:sldId id="2147470036"/>
            <p14:sldId id="2147470032"/>
            <p14:sldId id="2147470044"/>
            <p14:sldId id="2147470055"/>
            <p14:sldId id="2147470053"/>
            <p14:sldId id="2147470057"/>
            <p14:sldId id="2147470045"/>
            <p14:sldId id="2147470054"/>
            <p14:sldId id="21474700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88B0"/>
    <a:srgbClr val="FF926B"/>
    <a:srgbClr val="FFFFFF"/>
    <a:srgbClr val="202A44"/>
    <a:srgbClr val="C77977"/>
    <a:srgbClr val="FCFCFD"/>
    <a:srgbClr val="F7F7F7"/>
    <a:srgbClr val="FEFFFF"/>
    <a:srgbClr val="D4D4D4"/>
    <a:srgbClr val="0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-beth.powell@outlook.com" userId="d746eee4a24a9cd1" providerId="LiveId" clId="{E8371B02-BF71-4076-BD9A-E3794E85C30E}"/>
    <pc:docChg chg="undo custSel addSld delSld modSld sldOrd modMainMaster modSection">
      <pc:chgData name="sarah-beth.powell@outlook.com" userId="d746eee4a24a9cd1" providerId="LiveId" clId="{E8371B02-BF71-4076-BD9A-E3794E85C30E}" dt="2023-01-06T20:30:06.682" v="3864" actId="2"/>
      <pc:docMkLst>
        <pc:docMk/>
      </pc:docMkLst>
      <pc:sldChg chg="modSp mod">
        <pc:chgData name="sarah-beth.powell@outlook.com" userId="d746eee4a24a9cd1" providerId="LiveId" clId="{E8371B02-BF71-4076-BD9A-E3794E85C30E}" dt="2022-12-21T00:08:22.135" v="14" actId="20577"/>
        <pc:sldMkLst>
          <pc:docMk/>
          <pc:sldMk cId="476767592" sldId="2147470032"/>
        </pc:sldMkLst>
        <pc:spChg chg="mod">
          <ac:chgData name="sarah-beth.powell@outlook.com" userId="d746eee4a24a9cd1" providerId="LiveId" clId="{E8371B02-BF71-4076-BD9A-E3794E85C30E}" dt="2022-12-21T00:08:22.135" v="14" actId="20577"/>
          <ac:spMkLst>
            <pc:docMk/>
            <pc:sldMk cId="476767592" sldId="2147470032"/>
            <ac:spMk id="13" creationId="{490CF4DD-CC95-488E-B659-EE1B39FC0448}"/>
          </ac:spMkLst>
        </pc:spChg>
      </pc:sldChg>
      <pc:sldChg chg="modSp mod">
        <pc:chgData name="sarah-beth.powell@outlook.com" userId="d746eee4a24a9cd1" providerId="LiveId" clId="{E8371B02-BF71-4076-BD9A-E3794E85C30E}" dt="2022-12-21T19:02:03.156" v="1029" actId="313"/>
        <pc:sldMkLst>
          <pc:docMk/>
          <pc:sldMk cId="212007611" sldId="2147470044"/>
        </pc:sldMkLst>
        <pc:spChg chg="mod">
          <ac:chgData name="sarah-beth.powell@outlook.com" userId="d746eee4a24a9cd1" providerId="LiveId" clId="{E8371B02-BF71-4076-BD9A-E3794E85C30E}" dt="2022-12-21T19:02:03.156" v="1029" actId="313"/>
          <ac:spMkLst>
            <pc:docMk/>
            <pc:sldMk cId="212007611" sldId="2147470044"/>
            <ac:spMk id="6" creationId="{7D1EDC71-E486-45A5-1F27-E91466FFA99B}"/>
          </ac:spMkLst>
        </pc:spChg>
      </pc:sldChg>
      <pc:sldChg chg="modSp add del mod setBg">
        <pc:chgData name="sarah-beth.powell@outlook.com" userId="d746eee4a24a9cd1" providerId="LiveId" clId="{E8371B02-BF71-4076-BD9A-E3794E85C30E}" dt="2022-12-21T19:03:46.676" v="1040" actId="20577"/>
        <pc:sldMkLst>
          <pc:docMk/>
          <pc:sldMk cId="2054253381" sldId="2147470051"/>
        </pc:sldMkLst>
        <pc:spChg chg="mod">
          <ac:chgData name="sarah-beth.powell@outlook.com" userId="d746eee4a24a9cd1" providerId="LiveId" clId="{E8371B02-BF71-4076-BD9A-E3794E85C30E}" dt="2022-12-21T00:18:57.558" v="240" actId="20577"/>
          <ac:spMkLst>
            <pc:docMk/>
            <pc:sldMk cId="2054253381" sldId="2147470051"/>
            <ac:spMk id="4" creationId="{6D7E54E0-D061-39DE-2462-9FDFF69166F7}"/>
          </ac:spMkLst>
        </pc:spChg>
        <pc:spChg chg="mod">
          <ac:chgData name="sarah-beth.powell@outlook.com" userId="d746eee4a24a9cd1" providerId="LiveId" clId="{E8371B02-BF71-4076-BD9A-E3794E85C30E}" dt="2022-12-21T19:03:46.676" v="1040" actId="20577"/>
          <ac:spMkLst>
            <pc:docMk/>
            <pc:sldMk cId="2054253381" sldId="2147470051"/>
            <ac:spMk id="6" creationId="{7D1EDC71-E486-45A5-1F27-E91466FFA99B}"/>
          </ac:spMkLst>
        </pc:spChg>
      </pc:sldChg>
      <pc:sldChg chg="modSp del mod">
        <pc:chgData name="sarah-beth.powell@outlook.com" userId="d746eee4a24a9cd1" providerId="LiveId" clId="{E8371B02-BF71-4076-BD9A-E3794E85C30E}" dt="2022-12-21T00:16:22.101" v="103" actId="47"/>
        <pc:sldMkLst>
          <pc:docMk/>
          <pc:sldMk cId="1842391159" sldId="2147470052"/>
        </pc:sldMkLst>
        <pc:picChg chg="mod">
          <ac:chgData name="sarah-beth.powell@outlook.com" userId="d746eee4a24a9cd1" providerId="LiveId" clId="{E8371B02-BF71-4076-BD9A-E3794E85C30E}" dt="2022-12-21T00:12:13.908" v="33" actId="14100"/>
          <ac:picMkLst>
            <pc:docMk/>
            <pc:sldMk cId="1842391159" sldId="2147470052"/>
            <ac:picMk id="4" creationId="{C462B9B5-A0CB-0915-308E-88197C83E882}"/>
          </ac:picMkLst>
        </pc:picChg>
      </pc:sldChg>
      <pc:sldChg chg="addSp delSp modSp mod ord modNotesTx">
        <pc:chgData name="sarah-beth.powell@outlook.com" userId="d746eee4a24a9cd1" providerId="LiveId" clId="{E8371B02-BF71-4076-BD9A-E3794E85C30E}" dt="2023-01-06T20:30:05.608" v="3863" actId="2"/>
        <pc:sldMkLst>
          <pc:docMk/>
          <pc:sldMk cId="782457656" sldId="2147470053"/>
        </pc:sldMkLst>
        <pc:spChg chg="mod">
          <ac:chgData name="sarah-beth.powell@outlook.com" userId="d746eee4a24a9cd1" providerId="LiveId" clId="{E8371B02-BF71-4076-BD9A-E3794E85C30E}" dt="2023-01-06T20:22:39.948" v="3196" actId="1076"/>
          <ac:spMkLst>
            <pc:docMk/>
            <pc:sldMk cId="782457656" sldId="2147470053"/>
            <ac:spMk id="2" creationId="{B081A517-9093-D557-CCC8-72422DDB4CF3}"/>
          </ac:spMkLst>
        </pc:spChg>
        <pc:spChg chg="mod">
          <ac:chgData name="sarah-beth.powell@outlook.com" userId="d746eee4a24a9cd1" providerId="LiveId" clId="{E8371B02-BF71-4076-BD9A-E3794E85C30E}" dt="2023-01-06T20:22:32.755" v="3195" actId="1076"/>
          <ac:spMkLst>
            <pc:docMk/>
            <pc:sldMk cId="782457656" sldId="2147470053"/>
            <ac:spMk id="4" creationId="{F5591BBB-A255-D29D-7DE4-7420290AB989}"/>
          </ac:spMkLst>
        </pc:spChg>
        <pc:spChg chg="mod">
          <ac:chgData name="sarah-beth.powell@outlook.com" userId="d746eee4a24a9cd1" providerId="LiveId" clId="{E8371B02-BF71-4076-BD9A-E3794E85C30E}" dt="2023-01-06T20:22:26.175" v="3194" actId="1076"/>
          <ac:spMkLst>
            <pc:docMk/>
            <pc:sldMk cId="782457656" sldId="2147470053"/>
            <ac:spMk id="5" creationId="{A290F4D9-BEAC-015B-CB40-97F663783D98}"/>
          </ac:spMkLst>
        </pc:spChg>
        <pc:spChg chg="del mod">
          <ac:chgData name="sarah-beth.powell@outlook.com" userId="d746eee4a24a9cd1" providerId="LiveId" clId="{E8371B02-BF71-4076-BD9A-E3794E85C30E}" dt="2023-01-06T20:12:18.362" v="2345"/>
          <ac:spMkLst>
            <pc:docMk/>
            <pc:sldMk cId="782457656" sldId="2147470053"/>
            <ac:spMk id="6" creationId="{F4BA159B-DDE3-9832-7B3E-62827A78CF56}"/>
          </ac:spMkLst>
        </pc:spChg>
        <pc:spChg chg="mod">
          <ac:chgData name="sarah-beth.powell@outlook.com" userId="d746eee4a24a9cd1" providerId="LiveId" clId="{E8371B02-BF71-4076-BD9A-E3794E85C30E}" dt="2023-01-06T20:20:07.675" v="3046" actId="1076"/>
          <ac:spMkLst>
            <pc:docMk/>
            <pc:sldMk cId="782457656" sldId="2147470053"/>
            <ac:spMk id="7" creationId="{46FABC1B-3510-2650-3651-10ED879985EC}"/>
          </ac:spMkLst>
        </pc:spChg>
        <pc:spChg chg="mod">
          <ac:chgData name="sarah-beth.powell@outlook.com" userId="d746eee4a24a9cd1" providerId="LiveId" clId="{E8371B02-BF71-4076-BD9A-E3794E85C30E}" dt="2023-01-06T19:01:45.678" v="1056" actId="20577"/>
          <ac:spMkLst>
            <pc:docMk/>
            <pc:sldMk cId="782457656" sldId="2147470053"/>
            <ac:spMk id="8" creationId="{05A96E7B-3D2E-4C40-AB13-E65299A25E25}"/>
          </ac:spMkLst>
        </pc:spChg>
        <pc:spChg chg="mod">
          <ac:chgData name="sarah-beth.powell@outlook.com" userId="d746eee4a24a9cd1" providerId="LiveId" clId="{E8371B02-BF71-4076-BD9A-E3794E85C30E}" dt="2023-01-06T20:22:56.988" v="3198" actId="1076"/>
          <ac:spMkLst>
            <pc:docMk/>
            <pc:sldMk cId="782457656" sldId="2147470053"/>
            <ac:spMk id="9" creationId="{0D610797-3D23-4C1F-B662-1F4CBD325FC5}"/>
          </ac:spMkLst>
        </pc:spChg>
        <pc:spChg chg="mod">
          <ac:chgData name="sarah-beth.powell@outlook.com" userId="d746eee4a24a9cd1" providerId="LiveId" clId="{E8371B02-BF71-4076-BD9A-E3794E85C30E}" dt="2023-01-06T20:23:04.801" v="3199" actId="1076"/>
          <ac:spMkLst>
            <pc:docMk/>
            <pc:sldMk cId="782457656" sldId="2147470053"/>
            <ac:spMk id="10" creationId="{40BFBEB8-561F-445D-B118-92666EEDF9BF}"/>
          </ac:spMkLst>
        </pc:spChg>
        <pc:spChg chg="mod">
          <ac:chgData name="sarah-beth.powell@outlook.com" userId="d746eee4a24a9cd1" providerId="LiveId" clId="{E8371B02-BF71-4076-BD9A-E3794E85C30E}" dt="2023-01-06T20:30:02.834" v="3860" actId="2"/>
          <ac:spMkLst>
            <pc:docMk/>
            <pc:sldMk cId="782457656" sldId="2147470053"/>
            <ac:spMk id="11" creationId="{A3EE4623-97CD-7A49-C2EE-8E3495CE2A5D}"/>
          </ac:spMkLst>
        </pc:spChg>
        <pc:spChg chg="mod">
          <ac:chgData name="sarah-beth.powell@outlook.com" userId="d746eee4a24a9cd1" providerId="LiveId" clId="{E8371B02-BF71-4076-BD9A-E3794E85C30E}" dt="2023-01-06T20:22:45.296" v="3197" actId="1076"/>
          <ac:spMkLst>
            <pc:docMk/>
            <pc:sldMk cId="782457656" sldId="2147470053"/>
            <ac:spMk id="12" creationId="{EA3EEAF1-64A0-4CBD-AA41-E3D17655B644}"/>
          </ac:spMkLst>
        </pc:spChg>
        <pc:spChg chg="mod">
          <ac:chgData name="sarah-beth.powell@outlook.com" userId="d746eee4a24a9cd1" providerId="LiveId" clId="{E8371B02-BF71-4076-BD9A-E3794E85C30E}" dt="2023-01-06T20:23:11.220" v="3200" actId="1076"/>
          <ac:spMkLst>
            <pc:docMk/>
            <pc:sldMk cId="782457656" sldId="2147470053"/>
            <ac:spMk id="13" creationId="{490CF4DD-CC95-488E-B659-EE1B39FC0448}"/>
          </ac:spMkLst>
        </pc:spChg>
        <pc:spChg chg="mod">
          <ac:chgData name="sarah-beth.powell@outlook.com" userId="d746eee4a24a9cd1" providerId="LiveId" clId="{E8371B02-BF71-4076-BD9A-E3794E85C30E}" dt="2023-01-06T20:14:37.968" v="2567" actId="1076"/>
          <ac:spMkLst>
            <pc:docMk/>
            <pc:sldMk cId="782457656" sldId="2147470053"/>
            <ac:spMk id="14" creationId="{A19C5807-BD40-969F-836A-5E24A6E2EF19}"/>
          </ac:spMkLst>
        </pc:spChg>
        <pc:spChg chg="mod">
          <ac:chgData name="sarah-beth.powell@outlook.com" userId="d746eee4a24a9cd1" providerId="LiveId" clId="{E8371B02-BF71-4076-BD9A-E3794E85C30E}" dt="2023-01-06T20:30:03.681" v="3861" actId="2"/>
          <ac:spMkLst>
            <pc:docMk/>
            <pc:sldMk cId="782457656" sldId="2147470053"/>
            <ac:spMk id="15" creationId="{F7AEB6BC-007A-9FD4-CD5D-E1BADBAA8DBE}"/>
          </ac:spMkLst>
        </pc:spChg>
        <pc:spChg chg="mod">
          <ac:chgData name="sarah-beth.powell@outlook.com" userId="d746eee4a24a9cd1" providerId="LiveId" clId="{E8371B02-BF71-4076-BD9A-E3794E85C30E}" dt="2023-01-06T19:01:52.213" v="1057" actId="14100"/>
          <ac:spMkLst>
            <pc:docMk/>
            <pc:sldMk cId="782457656" sldId="2147470053"/>
            <ac:spMk id="16" creationId="{48EF4007-1E58-E285-FF91-CD54A3386032}"/>
          </ac:spMkLst>
        </pc:spChg>
        <pc:spChg chg="mod">
          <ac:chgData name="sarah-beth.powell@outlook.com" userId="d746eee4a24a9cd1" providerId="LiveId" clId="{E8371B02-BF71-4076-BD9A-E3794E85C30E}" dt="2023-01-06T14:08:59.427" v="1042" actId="164"/>
          <ac:spMkLst>
            <pc:docMk/>
            <pc:sldMk cId="782457656" sldId="2147470053"/>
            <ac:spMk id="19" creationId="{FF9DE081-AA09-BB5E-709B-63AAB98C886B}"/>
          </ac:spMkLst>
        </pc:spChg>
        <pc:spChg chg="add mod">
          <ac:chgData name="sarah-beth.powell@outlook.com" userId="d746eee4a24a9cd1" providerId="LiveId" clId="{E8371B02-BF71-4076-BD9A-E3794E85C30E}" dt="2023-01-06T20:14:27.581" v="2566" actId="1076"/>
          <ac:spMkLst>
            <pc:docMk/>
            <pc:sldMk cId="782457656" sldId="2147470053"/>
            <ac:spMk id="20" creationId="{2A786B48-5262-5AB0-7CB9-4DB8D8A72E94}"/>
          </ac:spMkLst>
        </pc:spChg>
        <pc:spChg chg="add del mod">
          <ac:chgData name="sarah-beth.powell@outlook.com" userId="d746eee4a24a9cd1" providerId="LiveId" clId="{E8371B02-BF71-4076-BD9A-E3794E85C30E}" dt="2023-01-06T19:47:22.509" v="1213" actId="478"/>
          <ac:spMkLst>
            <pc:docMk/>
            <pc:sldMk cId="782457656" sldId="2147470053"/>
            <ac:spMk id="22" creationId="{58CD9C81-575B-31CA-A6F5-F96DD4BB08A5}"/>
          </ac:spMkLst>
        </pc:spChg>
        <pc:spChg chg="add del mod">
          <ac:chgData name="sarah-beth.powell@outlook.com" userId="d746eee4a24a9cd1" providerId="LiveId" clId="{E8371B02-BF71-4076-BD9A-E3794E85C30E}" dt="2023-01-06T19:47:00.503" v="1193" actId="478"/>
          <ac:spMkLst>
            <pc:docMk/>
            <pc:sldMk cId="782457656" sldId="2147470053"/>
            <ac:spMk id="23" creationId="{4AAA1D03-D124-10CF-5C14-8941CAECEC1C}"/>
          </ac:spMkLst>
        </pc:spChg>
        <pc:spChg chg="add del mod">
          <ac:chgData name="sarah-beth.powell@outlook.com" userId="d746eee4a24a9cd1" providerId="LiveId" clId="{E8371B02-BF71-4076-BD9A-E3794E85C30E}" dt="2023-01-06T19:47:02.810" v="1195" actId="478"/>
          <ac:spMkLst>
            <pc:docMk/>
            <pc:sldMk cId="782457656" sldId="2147470053"/>
            <ac:spMk id="24" creationId="{A0C0AC4A-28BE-F864-9C09-2953A85D40C2}"/>
          </ac:spMkLst>
        </pc:spChg>
        <pc:spChg chg="add del mod">
          <ac:chgData name="sarah-beth.powell@outlook.com" userId="d746eee4a24a9cd1" providerId="LiveId" clId="{E8371B02-BF71-4076-BD9A-E3794E85C30E}" dt="2023-01-06T19:46:58.091" v="1192" actId="478"/>
          <ac:spMkLst>
            <pc:docMk/>
            <pc:sldMk cId="782457656" sldId="2147470053"/>
            <ac:spMk id="25" creationId="{DB196469-D394-0F03-E979-D7F9A69A35E2}"/>
          </ac:spMkLst>
        </pc:spChg>
        <pc:spChg chg="add mod">
          <ac:chgData name="sarah-beth.powell@outlook.com" userId="d746eee4a24a9cd1" providerId="LiveId" clId="{E8371B02-BF71-4076-BD9A-E3794E85C30E}" dt="2023-01-06T20:30:05.608" v="3863" actId="2"/>
          <ac:spMkLst>
            <pc:docMk/>
            <pc:sldMk cId="782457656" sldId="2147470053"/>
            <ac:spMk id="26" creationId="{2AC0D795-F16C-F2E0-55B4-C3188F656479}"/>
          </ac:spMkLst>
        </pc:spChg>
        <pc:spChg chg="add mod">
          <ac:chgData name="sarah-beth.powell@outlook.com" userId="d746eee4a24a9cd1" providerId="LiveId" clId="{E8371B02-BF71-4076-BD9A-E3794E85C30E}" dt="2023-01-06T20:22:09.101" v="3193" actId="1076"/>
          <ac:spMkLst>
            <pc:docMk/>
            <pc:sldMk cId="782457656" sldId="2147470053"/>
            <ac:spMk id="27" creationId="{F3163B21-BAD9-196B-2BA5-4FB50E8F73EA}"/>
          </ac:spMkLst>
        </pc:spChg>
        <pc:spChg chg="add mod">
          <ac:chgData name="sarah-beth.powell@outlook.com" userId="d746eee4a24a9cd1" providerId="LiveId" clId="{E8371B02-BF71-4076-BD9A-E3794E85C30E}" dt="2023-01-06T20:22:09.101" v="3193" actId="1076"/>
          <ac:spMkLst>
            <pc:docMk/>
            <pc:sldMk cId="782457656" sldId="2147470053"/>
            <ac:spMk id="28" creationId="{FB430392-3C66-17C9-556D-20D7A60E040A}"/>
          </ac:spMkLst>
        </pc:spChg>
        <pc:spChg chg="add mod">
          <ac:chgData name="sarah-beth.powell@outlook.com" userId="d746eee4a24a9cd1" providerId="LiveId" clId="{E8371B02-BF71-4076-BD9A-E3794E85C30E}" dt="2023-01-06T20:22:00.770" v="3192" actId="1076"/>
          <ac:spMkLst>
            <pc:docMk/>
            <pc:sldMk cId="782457656" sldId="2147470053"/>
            <ac:spMk id="29" creationId="{696FE9AA-9EC6-2476-CCF3-09483EC454F8}"/>
          </ac:spMkLst>
        </pc:spChg>
        <pc:spChg chg="add mod">
          <ac:chgData name="sarah-beth.powell@outlook.com" userId="d746eee4a24a9cd1" providerId="LiveId" clId="{E8371B02-BF71-4076-BD9A-E3794E85C30E}" dt="2023-01-06T20:22:00.770" v="3192" actId="1076"/>
          <ac:spMkLst>
            <pc:docMk/>
            <pc:sldMk cId="782457656" sldId="2147470053"/>
            <ac:spMk id="30" creationId="{75EB819B-F4F8-965A-F709-386DF449D927}"/>
          </ac:spMkLst>
        </pc:spChg>
        <pc:spChg chg="add mod">
          <ac:chgData name="sarah-beth.powell@outlook.com" userId="d746eee4a24a9cd1" providerId="LiveId" clId="{E8371B02-BF71-4076-BD9A-E3794E85C30E}" dt="2023-01-06T20:21:53.230" v="3191" actId="1076"/>
          <ac:spMkLst>
            <pc:docMk/>
            <pc:sldMk cId="782457656" sldId="2147470053"/>
            <ac:spMk id="31" creationId="{0BC7E08F-A0A0-6735-6A12-20561E8B81FC}"/>
          </ac:spMkLst>
        </pc:spChg>
        <pc:spChg chg="add mod">
          <ac:chgData name="sarah-beth.powell@outlook.com" userId="d746eee4a24a9cd1" providerId="LiveId" clId="{E8371B02-BF71-4076-BD9A-E3794E85C30E}" dt="2023-01-06T20:21:53.230" v="3191" actId="1076"/>
          <ac:spMkLst>
            <pc:docMk/>
            <pc:sldMk cId="782457656" sldId="2147470053"/>
            <ac:spMk id="32" creationId="{EDD209C6-4181-A859-1330-2CD687348251}"/>
          </ac:spMkLst>
        </pc:spChg>
        <pc:spChg chg="add mod">
          <ac:chgData name="sarah-beth.powell@outlook.com" userId="d746eee4a24a9cd1" providerId="LiveId" clId="{E8371B02-BF71-4076-BD9A-E3794E85C30E}" dt="2023-01-06T20:20:27.437" v="3050" actId="1076"/>
          <ac:spMkLst>
            <pc:docMk/>
            <pc:sldMk cId="782457656" sldId="2147470053"/>
            <ac:spMk id="33" creationId="{B20D9543-DCDD-33F3-5F85-5C881344318F}"/>
          </ac:spMkLst>
        </pc:spChg>
        <pc:spChg chg="add mod">
          <ac:chgData name="sarah-beth.powell@outlook.com" userId="d746eee4a24a9cd1" providerId="LiveId" clId="{E8371B02-BF71-4076-BD9A-E3794E85C30E}" dt="2023-01-06T20:21:39.740" v="3190" actId="20577"/>
          <ac:spMkLst>
            <pc:docMk/>
            <pc:sldMk cId="782457656" sldId="2147470053"/>
            <ac:spMk id="34" creationId="{3E46A7A0-238D-D2A1-DFF2-6524AE11F023}"/>
          </ac:spMkLst>
        </pc:spChg>
        <pc:grpChg chg="add del mod">
          <ac:chgData name="sarah-beth.powell@outlook.com" userId="d746eee4a24a9cd1" providerId="LiveId" clId="{E8371B02-BF71-4076-BD9A-E3794E85C30E}" dt="2023-01-06T19:01:36.790" v="1049" actId="478"/>
          <ac:grpSpMkLst>
            <pc:docMk/>
            <pc:sldMk cId="782457656" sldId="2147470053"/>
            <ac:grpSpMk id="17" creationId="{01FB9987-DDAC-3E63-623D-0DC909D04994}"/>
          </ac:grpSpMkLst>
        </pc:grpChg>
        <pc:picChg chg="mod">
          <ac:chgData name="sarah-beth.powell@outlook.com" userId="d746eee4a24a9cd1" providerId="LiveId" clId="{E8371B02-BF71-4076-BD9A-E3794E85C30E}" dt="2023-01-06T14:08:59.427" v="1042" actId="164"/>
          <ac:picMkLst>
            <pc:docMk/>
            <pc:sldMk cId="782457656" sldId="2147470053"/>
            <ac:picMk id="18" creationId="{EC3932BE-FC4E-8236-1A83-F0D7447B8B2E}"/>
          </ac:picMkLst>
        </pc:picChg>
        <pc:picChg chg="del">
          <ac:chgData name="sarah-beth.powell@outlook.com" userId="d746eee4a24a9cd1" providerId="LiveId" clId="{E8371B02-BF71-4076-BD9A-E3794E85C30E}" dt="2023-01-06T14:08:40.652" v="1041" actId="478"/>
          <ac:picMkLst>
            <pc:docMk/>
            <pc:sldMk cId="782457656" sldId="2147470053"/>
            <ac:picMk id="21" creationId="{C9479E5B-86CD-4099-E7AE-C0CBC8021FD6}"/>
          </ac:picMkLst>
        </pc:picChg>
      </pc:sldChg>
      <pc:sldChg chg="addSp delSp modSp add mod modAnim">
        <pc:chgData name="sarah-beth.powell@outlook.com" userId="d746eee4a24a9cd1" providerId="LiveId" clId="{E8371B02-BF71-4076-BD9A-E3794E85C30E}" dt="2022-12-21T19:03:24.954" v="1033" actId="1037"/>
        <pc:sldMkLst>
          <pc:docMk/>
          <pc:sldMk cId="2994443075" sldId="2147470054"/>
        </pc:sldMkLst>
        <pc:spChg chg="add del mod">
          <ac:chgData name="sarah-beth.powell@outlook.com" userId="d746eee4a24a9cd1" providerId="LiveId" clId="{E8371B02-BF71-4076-BD9A-E3794E85C30E}" dt="2022-12-21T00:12:34.603" v="39" actId="478"/>
          <ac:spMkLst>
            <pc:docMk/>
            <pc:sldMk cId="2994443075" sldId="2147470054"/>
            <ac:spMk id="3" creationId="{EE096F86-A60C-344D-6003-9BA0A991E4B7}"/>
          </ac:spMkLst>
        </pc:spChg>
        <pc:spChg chg="del">
          <ac:chgData name="sarah-beth.powell@outlook.com" userId="d746eee4a24a9cd1" providerId="LiveId" clId="{E8371B02-BF71-4076-BD9A-E3794E85C30E}" dt="2022-12-21T00:12:32.293" v="38" actId="478"/>
          <ac:spMkLst>
            <pc:docMk/>
            <pc:sldMk cId="2994443075" sldId="2147470054"/>
            <ac:spMk id="4" creationId="{6D7E54E0-D061-39DE-2462-9FDFF69166F7}"/>
          </ac:spMkLst>
        </pc:spChg>
        <pc:spChg chg="del">
          <ac:chgData name="sarah-beth.powell@outlook.com" userId="d746eee4a24a9cd1" providerId="LiveId" clId="{E8371B02-BF71-4076-BD9A-E3794E85C30E}" dt="2022-12-21T00:12:28.694" v="37" actId="478"/>
          <ac:spMkLst>
            <pc:docMk/>
            <pc:sldMk cId="2994443075" sldId="2147470054"/>
            <ac:spMk id="6" creationId="{7D1EDC71-E486-45A5-1F27-E91466FFA99B}"/>
          </ac:spMkLst>
        </pc:spChg>
        <pc:spChg chg="add mod">
          <ac:chgData name="sarah-beth.powell@outlook.com" userId="d746eee4a24a9cd1" providerId="LiveId" clId="{E8371B02-BF71-4076-BD9A-E3794E85C30E}" dt="2022-12-21T00:16:08.705" v="101"/>
          <ac:spMkLst>
            <pc:docMk/>
            <pc:sldMk cId="2994443075" sldId="2147470054"/>
            <ac:spMk id="9" creationId="{AE0F1A57-E49D-0ED8-569A-DB3B705FB681}"/>
          </ac:spMkLst>
        </pc:spChg>
        <pc:grpChg chg="add mod">
          <ac:chgData name="sarah-beth.powell@outlook.com" userId="d746eee4a24a9cd1" providerId="LiveId" clId="{E8371B02-BF71-4076-BD9A-E3794E85C30E}" dt="2022-12-21T00:14:11.808" v="57" actId="164"/>
          <ac:grpSpMkLst>
            <pc:docMk/>
            <pc:sldMk cId="2994443075" sldId="2147470054"/>
            <ac:grpSpMk id="8" creationId="{5A5C48B1-3FF7-3E2D-FC64-940771766F75}"/>
          </ac:grpSpMkLst>
        </pc:grpChg>
        <pc:picChg chg="add mod">
          <ac:chgData name="sarah-beth.powell@outlook.com" userId="d746eee4a24a9cd1" providerId="LiveId" clId="{E8371B02-BF71-4076-BD9A-E3794E85C30E}" dt="2022-12-21T00:14:11.808" v="57" actId="164"/>
          <ac:picMkLst>
            <pc:docMk/>
            <pc:sldMk cId="2994443075" sldId="2147470054"/>
            <ac:picMk id="5" creationId="{9DA86233-542D-B0DA-44C3-12178C30822C}"/>
          </ac:picMkLst>
        </pc:picChg>
        <pc:picChg chg="add mod">
          <ac:chgData name="sarah-beth.powell@outlook.com" userId="d746eee4a24a9cd1" providerId="LiveId" clId="{E8371B02-BF71-4076-BD9A-E3794E85C30E}" dt="2022-12-21T19:03:24.954" v="1033" actId="1037"/>
          <ac:picMkLst>
            <pc:docMk/>
            <pc:sldMk cId="2994443075" sldId="2147470054"/>
            <ac:picMk id="7" creationId="{A536BA3D-7EEB-6E56-405F-8AE6CC36FD6E}"/>
          </ac:picMkLst>
        </pc:picChg>
      </pc:sldChg>
      <pc:sldChg chg="add del setBg">
        <pc:chgData name="sarah-beth.powell@outlook.com" userId="d746eee4a24a9cd1" providerId="LiveId" clId="{E8371B02-BF71-4076-BD9A-E3794E85C30E}" dt="2022-12-21T00:12:22.614" v="35"/>
        <pc:sldMkLst>
          <pc:docMk/>
          <pc:sldMk cId="4270167374" sldId="2147470054"/>
        </pc:sldMkLst>
      </pc:sldChg>
      <pc:sldChg chg="addSp delSp modSp add del mod">
        <pc:chgData name="sarah-beth.powell@outlook.com" userId="d746eee4a24a9cd1" providerId="LiveId" clId="{E8371B02-BF71-4076-BD9A-E3794E85C30E}" dt="2022-12-21T00:16:17.971" v="102" actId="47"/>
        <pc:sldMkLst>
          <pc:docMk/>
          <pc:sldMk cId="722519734" sldId="2147470055"/>
        </pc:sldMkLst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2" creationId="{B081A517-9093-D557-CCC8-72422DDB4CF3}"/>
          </ac:spMkLst>
        </pc:spChg>
        <pc:spChg chg="mod">
          <ac:chgData name="sarah-beth.powell@outlook.com" userId="d746eee4a24a9cd1" providerId="LiveId" clId="{E8371B02-BF71-4076-BD9A-E3794E85C30E}" dt="2022-12-21T00:16:05.759" v="100" actId="1076"/>
          <ac:spMkLst>
            <pc:docMk/>
            <pc:sldMk cId="722519734" sldId="2147470055"/>
            <ac:spMk id="3" creationId="{E0C9A529-2999-6066-A6E4-87B934B7BC6A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4" creationId="{F5591BBB-A255-D29D-7DE4-7420290AB989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5" creationId="{A290F4D9-BEAC-015B-CB40-97F663783D98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6" creationId="{F4BA159B-DDE3-9832-7B3E-62827A78CF56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7" creationId="{46FABC1B-3510-2650-3651-10ED879985EC}"/>
          </ac:spMkLst>
        </pc:spChg>
        <pc:spChg chg="mod">
          <ac:chgData name="sarah-beth.powell@outlook.com" userId="d746eee4a24a9cd1" providerId="LiveId" clId="{E8371B02-BF71-4076-BD9A-E3794E85C30E}" dt="2022-12-21T00:16:01.457" v="99" actId="20577"/>
          <ac:spMkLst>
            <pc:docMk/>
            <pc:sldMk cId="722519734" sldId="2147470055"/>
            <ac:spMk id="8" creationId="{05A96E7B-3D2E-4C40-AB13-E65299A25E25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9" creationId="{0D610797-3D23-4C1F-B662-1F4CBD325FC5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0" creationId="{40BFBEB8-561F-445D-B118-92666EEDF9BF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1" creationId="{A3EE4623-97CD-7A49-C2EE-8E3495CE2A5D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2" creationId="{EA3EEAF1-64A0-4CBD-AA41-E3D17655B644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3" creationId="{490CF4DD-CC95-488E-B659-EE1B39FC0448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4" creationId="{A19C5807-BD40-969F-836A-5E24A6E2EF19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5" creationId="{F7AEB6BC-007A-9FD4-CD5D-E1BADBAA8DBE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6" creationId="{48EF4007-1E58-E285-FF91-CD54A3386032}"/>
          </ac:spMkLst>
        </pc:spChg>
        <pc:spChg chg="del">
          <ac:chgData name="sarah-beth.powell@outlook.com" userId="d746eee4a24a9cd1" providerId="LiveId" clId="{E8371B02-BF71-4076-BD9A-E3794E85C30E}" dt="2022-12-21T00:14:03.254" v="56" actId="478"/>
          <ac:spMkLst>
            <pc:docMk/>
            <pc:sldMk cId="722519734" sldId="2147470055"/>
            <ac:spMk id="19" creationId="{FF9DE081-AA09-BB5E-709B-63AAB98C886B}"/>
          </ac:spMkLst>
        </pc:spChg>
        <pc:picChg chg="add mod">
          <ac:chgData name="sarah-beth.powell@outlook.com" userId="d746eee4a24a9cd1" providerId="LiveId" clId="{E8371B02-BF71-4076-BD9A-E3794E85C30E}" dt="2022-12-21T00:14:20.171" v="59" actId="1076"/>
          <ac:picMkLst>
            <pc:docMk/>
            <pc:sldMk cId="722519734" sldId="2147470055"/>
            <ac:picMk id="17" creationId="{E8719C67-C7A2-DB2E-C33B-4609EB472F09}"/>
          </ac:picMkLst>
        </pc:picChg>
        <pc:picChg chg="del">
          <ac:chgData name="sarah-beth.powell@outlook.com" userId="d746eee4a24a9cd1" providerId="LiveId" clId="{E8371B02-BF71-4076-BD9A-E3794E85C30E}" dt="2022-12-21T00:14:03.254" v="56" actId="478"/>
          <ac:picMkLst>
            <pc:docMk/>
            <pc:sldMk cId="722519734" sldId="2147470055"/>
            <ac:picMk id="18" creationId="{EC3932BE-FC4E-8236-1A83-F0D7447B8B2E}"/>
          </ac:picMkLst>
        </pc:picChg>
        <pc:picChg chg="add mod">
          <ac:chgData name="sarah-beth.powell@outlook.com" userId="d746eee4a24a9cd1" providerId="LiveId" clId="{E8371B02-BF71-4076-BD9A-E3794E85C30E}" dt="2022-12-21T00:15:17.310" v="72" actId="1440"/>
          <ac:picMkLst>
            <pc:docMk/>
            <pc:sldMk cId="722519734" sldId="2147470055"/>
            <ac:picMk id="20" creationId="{E8E19CE5-B8B7-8E3F-DD6F-5CBCF1FECF4E}"/>
          </ac:picMkLst>
        </pc:picChg>
        <pc:picChg chg="del">
          <ac:chgData name="sarah-beth.powell@outlook.com" userId="d746eee4a24a9cd1" providerId="LiveId" clId="{E8371B02-BF71-4076-BD9A-E3794E85C30E}" dt="2022-12-21T00:14:03.254" v="56" actId="478"/>
          <ac:picMkLst>
            <pc:docMk/>
            <pc:sldMk cId="722519734" sldId="2147470055"/>
            <ac:picMk id="21" creationId="{C9479E5B-86CD-4099-E7AE-C0CBC8021FD6}"/>
          </ac:picMkLst>
        </pc:picChg>
      </pc:sldChg>
      <pc:sldChg chg="addSp delSp modSp add mod">
        <pc:chgData name="sarah-beth.powell@outlook.com" userId="d746eee4a24a9cd1" providerId="LiveId" clId="{E8371B02-BF71-4076-BD9A-E3794E85C30E}" dt="2023-01-06T20:05:04.136" v="1914" actId="1076"/>
        <pc:sldMkLst>
          <pc:docMk/>
          <pc:sldMk cId="1732655425" sldId="2147470055"/>
        </pc:sldMkLst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2" creationId="{B081A517-9093-D557-CCC8-72422DDB4CF3}"/>
          </ac:spMkLst>
        </pc:spChg>
        <pc:spChg chg="del mod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4" creationId="{F5591BBB-A255-D29D-7DE4-7420290AB989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5" creationId="{A290F4D9-BEAC-015B-CB40-97F663783D98}"/>
          </ac:spMkLst>
        </pc:spChg>
        <pc:spChg chg="del">
          <ac:chgData name="sarah-beth.powell@outlook.com" userId="d746eee4a24a9cd1" providerId="LiveId" clId="{E8371B02-BF71-4076-BD9A-E3794E85C30E}" dt="2023-01-06T19:03:56.077" v="1062" actId="478"/>
          <ac:spMkLst>
            <pc:docMk/>
            <pc:sldMk cId="1732655425" sldId="2147470055"/>
            <ac:spMk id="6" creationId="{F4BA159B-DDE3-9832-7B3E-62827A78CF56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7" creationId="{46FABC1B-3510-2650-3651-10ED879985EC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9" creationId="{0D610797-3D23-4C1F-B662-1F4CBD325FC5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0" creationId="{40BFBEB8-561F-445D-B118-92666EEDF9BF}"/>
          </ac:spMkLst>
        </pc:spChg>
        <pc:spChg chg="del">
          <ac:chgData name="sarah-beth.powell@outlook.com" userId="d746eee4a24a9cd1" providerId="LiveId" clId="{E8371B02-BF71-4076-BD9A-E3794E85C30E}" dt="2023-01-06T19:03:56.077" v="1062" actId="478"/>
          <ac:spMkLst>
            <pc:docMk/>
            <pc:sldMk cId="1732655425" sldId="2147470055"/>
            <ac:spMk id="11" creationId="{A3EE4623-97CD-7A49-C2EE-8E3495CE2A5D}"/>
          </ac:spMkLst>
        </pc:spChg>
        <pc:spChg chg="del mod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2" creationId="{EA3EEAF1-64A0-4CBD-AA41-E3D17655B644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3" creationId="{490CF4DD-CC95-488E-B659-EE1B39FC0448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4" creationId="{A19C5807-BD40-969F-836A-5E24A6E2EF19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5" creationId="{F7AEB6BC-007A-9FD4-CD5D-E1BADBAA8DBE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16" creationId="{48EF4007-1E58-E285-FF91-CD54A3386032}"/>
          </ac:spMkLst>
        </pc:spChg>
        <pc:spChg chg="add mod">
          <ac:chgData name="sarah-beth.powell@outlook.com" userId="d746eee4a24a9cd1" providerId="LiveId" clId="{E8371B02-BF71-4076-BD9A-E3794E85C30E}" dt="2023-01-06T19:57:39.959" v="1643" actId="1076"/>
          <ac:spMkLst>
            <pc:docMk/>
            <pc:sldMk cId="1732655425" sldId="2147470055"/>
            <ac:spMk id="17" creationId="{E7CE7DF5-8980-C73B-783E-C3DD6089E4FF}"/>
          </ac:spMkLst>
        </pc:spChg>
        <pc:spChg chg="add mod">
          <ac:chgData name="sarah-beth.powell@outlook.com" userId="d746eee4a24a9cd1" providerId="LiveId" clId="{E8371B02-BF71-4076-BD9A-E3794E85C30E}" dt="2023-01-06T19:57:39.959" v="1643" actId="1076"/>
          <ac:spMkLst>
            <pc:docMk/>
            <pc:sldMk cId="1732655425" sldId="2147470055"/>
            <ac:spMk id="18" creationId="{5B00BEAA-C0D3-28A9-62B1-77A91A348E2C}"/>
          </ac:spMkLst>
        </pc:spChg>
        <pc:spChg chg="add mod">
          <ac:chgData name="sarah-beth.powell@outlook.com" userId="d746eee4a24a9cd1" providerId="LiveId" clId="{E8371B02-BF71-4076-BD9A-E3794E85C30E}" dt="2023-01-06T19:57:46.984" v="1644" actId="404"/>
          <ac:spMkLst>
            <pc:docMk/>
            <pc:sldMk cId="1732655425" sldId="2147470055"/>
            <ac:spMk id="19" creationId="{746FC7B4-78B7-A5EF-B7A2-43C2C9693D4D}"/>
          </ac:spMkLst>
        </pc:spChg>
        <pc:spChg chg="del mod">
          <ac:chgData name="sarah-beth.powell@outlook.com" userId="d746eee4a24a9cd1" providerId="LiveId" clId="{E8371B02-BF71-4076-BD9A-E3794E85C30E}" dt="2023-01-06T19:04:01.790" v="1064" actId="478"/>
          <ac:spMkLst>
            <pc:docMk/>
            <pc:sldMk cId="1732655425" sldId="2147470055"/>
            <ac:spMk id="20" creationId="{2A786B48-5262-5AB0-7CB9-4DB8D8A72E94}"/>
          </ac:spMkLst>
        </pc:spChg>
        <pc:spChg chg="add mod">
          <ac:chgData name="sarah-beth.powell@outlook.com" userId="d746eee4a24a9cd1" providerId="LiveId" clId="{E8371B02-BF71-4076-BD9A-E3794E85C30E}" dt="2023-01-06T19:57:39.959" v="1643" actId="1076"/>
          <ac:spMkLst>
            <pc:docMk/>
            <pc:sldMk cId="1732655425" sldId="2147470055"/>
            <ac:spMk id="21" creationId="{A9F28D71-E3DC-EC8D-4AAC-D740D75CFF34}"/>
          </ac:spMkLst>
        </pc:spChg>
        <pc:spChg chg="del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22" creationId="{58CD9C81-575B-31CA-A6F5-F96DD4BB08A5}"/>
          </ac:spMkLst>
        </pc:spChg>
        <pc:spChg chg="del">
          <ac:chgData name="sarah-beth.powell@outlook.com" userId="d746eee4a24a9cd1" providerId="LiveId" clId="{E8371B02-BF71-4076-BD9A-E3794E85C30E}" dt="2023-01-06T19:04:03.858" v="1065" actId="478"/>
          <ac:spMkLst>
            <pc:docMk/>
            <pc:sldMk cId="1732655425" sldId="2147470055"/>
            <ac:spMk id="23" creationId="{4AAA1D03-D124-10CF-5C14-8941CAECEC1C}"/>
          </ac:spMkLst>
        </pc:spChg>
        <pc:spChg chg="del mod">
          <ac:chgData name="sarah-beth.powell@outlook.com" userId="d746eee4a24a9cd1" providerId="LiveId" clId="{E8371B02-BF71-4076-BD9A-E3794E85C30E}" dt="2023-01-06T19:12:43.260" v="1189" actId="478"/>
          <ac:spMkLst>
            <pc:docMk/>
            <pc:sldMk cId="1732655425" sldId="2147470055"/>
            <ac:spMk id="24" creationId="{A0C0AC4A-28BE-F864-9C09-2953A85D40C2}"/>
          </ac:spMkLst>
        </pc:spChg>
        <pc:spChg chg="del">
          <ac:chgData name="sarah-beth.powell@outlook.com" userId="d746eee4a24a9cd1" providerId="LiveId" clId="{E8371B02-BF71-4076-BD9A-E3794E85C30E}" dt="2023-01-06T19:04:05.399" v="1066" actId="478"/>
          <ac:spMkLst>
            <pc:docMk/>
            <pc:sldMk cId="1732655425" sldId="2147470055"/>
            <ac:spMk id="25" creationId="{DB196469-D394-0F03-E979-D7F9A69A35E2}"/>
          </ac:spMkLst>
        </pc:spChg>
        <pc:spChg chg="add mod">
          <ac:chgData name="sarah-beth.powell@outlook.com" userId="d746eee4a24a9cd1" providerId="LiveId" clId="{E8371B02-BF71-4076-BD9A-E3794E85C30E}" dt="2023-01-06T19:57:39.959" v="1643" actId="1076"/>
          <ac:spMkLst>
            <pc:docMk/>
            <pc:sldMk cId="1732655425" sldId="2147470055"/>
            <ac:spMk id="26" creationId="{93F8D87F-A111-E66D-8105-9096513025AE}"/>
          </ac:spMkLst>
        </pc:spChg>
        <pc:spChg chg="add mod">
          <ac:chgData name="sarah-beth.powell@outlook.com" userId="d746eee4a24a9cd1" providerId="LiveId" clId="{E8371B02-BF71-4076-BD9A-E3794E85C30E}" dt="2023-01-06T19:57:39.959" v="1643" actId="1076"/>
          <ac:spMkLst>
            <pc:docMk/>
            <pc:sldMk cId="1732655425" sldId="2147470055"/>
            <ac:spMk id="27" creationId="{F1A93843-88A1-E4E3-FF15-473EFB15914D}"/>
          </ac:spMkLst>
        </pc:spChg>
        <pc:spChg chg="add del mod">
          <ac:chgData name="sarah-beth.powell@outlook.com" userId="d746eee4a24a9cd1" providerId="LiveId" clId="{E8371B02-BF71-4076-BD9A-E3794E85C30E}" dt="2023-01-06T19:58:14.456" v="1648"/>
          <ac:spMkLst>
            <pc:docMk/>
            <pc:sldMk cId="1732655425" sldId="2147470055"/>
            <ac:spMk id="42" creationId="{56CFEC95-116B-846E-3C24-AD31720698D3}"/>
          </ac:spMkLst>
        </pc:spChg>
        <pc:spChg chg="add del mod">
          <ac:chgData name="sarah-beth.powell@outlook.com" userId="d746eee4a24a9cd1" providerId="LiveId" clId="{E8371B02-BF71-4076-BD9A-E3794E85C30E}" dt="2023-01-06T19:58:14.457" v="1650"/>
          <ac:spMkLst>
            <pc:docMk/>
            <pc:sldMk cId="1732655425" sldId="2147470055"/>
            <ac:spMk id="43" creationId="{7B9458F4-D8D5-0F54-F943-6DE4D482A8AA}"/>
          </ac:spMkLst>
        </pc:spChg>
        <pc:spChg chg="add mod">
          <ac:chgData name="sarah-beth.powell@outlook.com" userId="d746eee4a24a9cd1" providerId="LiveId" clId="{E8371B02-BF71-4076-BD9A-E3794E85C30E}" dt="2023-01-06T19:59:08.665" v="1680" actId="113"/>
          <ac:spMkLst>
            <pc:docMk/>
            <pc:sldMk cId="1732655425" sldId="2147470055"/>
            <ac:spMk id="44" creationId="{3A84B591-ED63-281C-B305-7EAD583D5B52}"/>
          </ac:spMkLst>
        </pc:spChg>
        <pc:spChg chg="add mod">
          <ac:chgData name="sarah-beth.powell@outlook.com" userId="d746eee4a24a9cd1" providerId="LiveId" clId="{E8371B02-BF71-4076-BD9A-E3794E85C30E}" dt="2023-01-06T19:59:28.312" v="1685" actId="1076"/>
          <ac:spMkLst>
            <pc:docMk/>
            <pc:sldMk cId="1732655425" sldId="2147470055"/>
            <ac:spMk id="45" creationId="{96943D32-A0E5-558F-B611-FCD2CAE18D09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46" creationId="{26488632-6406-07B5-5886-E3C461454CBC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47" creationId="{1566CCDA-8F9D-E3A7-633F-8BAA46BF894B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48" creationId="{96712DC0-8D98-6BAD-BA24-AD655A8A16BF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49" creationId="{C2A4F06C-4B99-5DCE-40A8-9C41EF1347ED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50" creationId="{DB3A70C6-2508-2921-CDD7-751E84A351A9}"/>
          </ac:spMkLst>
        </pc:spChg>
        <pc:spChg chg="add del mod">
          <ac:chgData name="sarah-beth.powell@outlook.com" userId="d746eee4a24a9cd1" providerId="LiveId" clId="{E8371B02-BF71-4076-BD9A-E3794E85C30E}" dt="2023-01-06T20:01:43.792" v="1895"/>
          <ac:spMkLst>
            <pc:docMk/>
            <pc:sldMk cId="1732655425" sldId="2147470055"/>
            <ac:spMk id="51" creationId="{61D31133-1DBE-72D0-CE79-E42C86220510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52" creationId="{5416BD15-909F-7902-666E-913AAD761E47}"/>
          </ac:spMkLst>
        </pc:spChg>
        <pc:spChg chg="add del mod">
          <ac:chgData name="sarah-beth.powell@outlook.com" userId="d746eee4a24a9cd1" providerId="LiveId" clId="{E8371B02-BF71-4076-BD9A-E3794E85C30E}" dt="2023-01-06T20:02:10.337" v="1899" actId="478"/>
          <ac:spMkLst>
            <pc:docMk/>
            <pc:sldMk cId="1732655425" sldId="2147470055"/>
            <ac:spMk id="53" creationId="{4903D0BA-F5F7-EC62-4118-B7CE734ECBF2}"/>
          </ac:spMkLst>
        </pc:spChg>
        <pc:spChg chg="add mod">
          <ac:chgData name="sarah-beth.powell@outlook.com" userId="d746eee4a24a9cd1" providerId="LiveId" clId="{E8371B02-BF71-4076-BD9A-E3794E85C30E}" dt="2023-01-06T20:05:04.136" v="1914" actId="1076"/>
          <ac:spMkLst>
            <pc:docMk/>
            <pc:sldMk cId="1732655425" sldId="2147470055"/>
            <ac:spMk id="56" creationId="{02F78A52-F199-ADB4-BB1E-5C4CAC0CB124}"/>
          </ac:spMkLst>
        </pc:spChg>
        <pc:picChg chg="add mod">
          <ac:chgData name="sarah-beth.powell@outlook.com" userId="d746eee4a24a9cd1" providerId="LiveId" clId="{E8371B02-BF71-4076-BD9A-E3794E85C30E}" dt="2023-01-06T20:05:04.136" v="1914" actId="1076"/>
          <ac:picMkLst>
            <pc:docMk/>
            <pc:sldMk cId="1732655425" sldId="2147470055"/>
            <ac:picMk id="55" creationId="{0F9941E6-CC6C-5582-20DC-59AC95B192DA}"/>
          </ac:picMkLst>
        </pc:picChg>
        <pc:cxnChg chg="add mod">
          <ac:chgData name="sarah-beth.powell@outlook.com" userId="d746eee4a24a9cd1" providerId="LiveId" clId="{E8371B02-BF71-4076-BD9A-E3794E85C30E}" dt="2023-01-06T19:57:39.959" v="1643" actId="1076"/>
          <ac:cxnSpMkLst>
            <pc:docMk/>
            <pc:sldMk cId="1732655425" sldId="2147470055"/>
            <ac:cxnSpMk id="29" creationId="{7ABD4753-E70D-7F1A-1ACB-D3F47481A5FD}"/>
          </ac:cxnSpMkLst>
        </pc:cxnChg>
        <pc:cxnChg chg="add mod">
          <ac:chgData name="sarah-beth.powell@outlook.com" userId="d746eee4a24a9cd1" providerId="LiveId" clId="{E8371B02-BF71-4076-BD9A-E3794E85C30E}" dt="2023-01-06T19:57:39.959" v="1643" actId="1076"/>
          <ac:cxnSpMkLst>
            <pc:docMk/>
            <pc:sldMk cId="1732655425" sldId="2147470055"/>
            <ac:cxnSpMk id="30" creationId="{0A3AABC6-BC33-A5D7-EBB4-1A64DD4C836B}"/>
          </ac:cxnSpMkLst>
        </pc:cxnChg>
        <pc:cxnChg chg="add mod">
          <ac:chgData name="sarah-beth.powell@outlook.com" userId="d746eee4a24a9cd1" providerId="LiveId" clId="{E8371B02-BF71-4076-BD9A-E3794E85C30E}" dt="2023-01-06T19:57:39.959" v="1643" actId="1076"/>
          <ac:cxnSpMkLst>
            <pc:docMk/>
            <pc:sldMk cId="1732655425" sldId="2147470055"/>
            <ac:cxnSpMk id="31" creationId="{99684874-DB2B-2586-DCF6-BF3CFC3B85D9}"/>
          </ac:cxnSpMkLst>
        </pc:cxnChg>
        <pc:cxnChg chg="add mod">
          <ac:chgData name="sarah-beth.powell@outlook.com" userId="d746eee4a24a9cd1" providerId="LiveId" clId="{E8371B02-BF71-4076-BD9A-E3794E85C30E}" dt="2023-01-06T19:57:39.959" v="1643" actId="1076"/>
          <ac:cxnSpMkLst>
            <pc:docMk/>
            <pc:sldMk cId="1732655425" sldId="2147470055"/>
            <ac:cxnSpMk id="33" creationId="{D8FA46BC-2800-D470-D59D-6800A8532826}"/>
          </ac:cxnSpMkLst>
        </pc:cxnChg>
        <pc:cxnChg chg="add del mod">
          <ac:chgData name="sarah-beth.powell@outlook.com" userId="d746eee4a24a9cd1" providerId="LiveId" clId="{E8371B02-BF71-4076-BD9A-E3794E85C30E}" dt="2023-01-06T19:56:53.519" v="1638" actId="478"/>
          <ac:cxnSpMkLst>
            <pc:docMk/>
            <pc:sldMk cId="1732655425" sldId="2147470055"/>
            <ac:cxnSpMk id="35" creationId="{4A56981A-D3C9-FF8C-1673-EAA1A0D07A55}"/>
          </ac:cxnSpMkLst>
        </pc:cxnChg>
        <pc:cxnChg chg="add mod">
          <ac:chgData name="sarah-beth.powell@outlook.com" userId="d746eee4a24a9cd1" providerId="LiveId" clId="{E8371B02-BF71-4076-BD9A-E3794E85C30E}" dt="2023-01-06T19:57:39.959" v="1643" actId="1076"/>
          <ac:cxnSpMkLst>
            <pc:docMk/>
            <pc:sldMk cId="1732655425" sldId="2147470055"/>
            <ac:cxnSpMk id="39" creationId="{8A5CC5F9-F41E-F89D-C4CB-022CDDAEDA36}"/>
          </ac:cxnSpMkLst>
        </pc:cxnChg>
      </pc:sldChg>
      <pc:sldChg chg="add del setBg">
        <pc:chgData name="sarah-beth.powell@outlook.com" userId="d746eee4a24a9cd1" providerId="LiveId" clId="{E8371B02-BF71-4076-BD9A-E3794E85C30E}" dt="2023-01-06T19:03:50.975" v="1060"/>
        <pc:sldMkLst>
          <pc:docMk/>
          <pc:sldMk cId="2235892391" sldId="2147470055"/>
        </pc:sldMkLst>
      </pc:sldChg>
      <pc:sldChg chg="modSp add del mod">
        <pc:chgData name="sarah-beth.powell@outlook.com" userId="d746eee4a24a9cd1" providerId="LiveId" clId="{E8371B02-BF71-4076-BD9A-E3794E85C30E}" dt="2022-12-21T00:18:32.633" v="187" actId="47"/>
        <pc:sldMkLst>
          <pc:docMk/>
          <pc:sldMk cId="2470130312" sldId="2147470055"/>
        </pc:sldMkLst>
        <pc:spChg chg="mod">
          <ac:chgData name="sarah-beth.powell@outlook.com" userId="d746eee4a24a9cd1" providerId="LiveId" clId="{E8371B02-BF71-4076-BD9A-E3794E85C30E}" dt="2022-12-21T00:17:59.358" v="183" actId="20577"/>
          <ac:spMkLst>
            <pc:docMk/>
            <pc:sldMk cId="2470130312" sldId="2147470055"/>
            <ac:spMk id="8" creationId="{05A96E7B-3D2E-4C40-AB13-E65299A25E25}"/>
          </ac:spMkLst>
        </pc:spChg>
      </pc:sldChg>
      <pc:sldChg chg="add del setBg">
        <pc:chgData name="sarah-beth.powell@outlook.com" userId="d746eee4a24a9cd1" providerId="LiveId" clId="{E8371B02-BF71-4076-BD9A-E3794E85C30E}" dt="2022-12-21T00:13:59.943" v="54"/>
        <pc:sldMkLst>
          <pc:docMk/>
          <pc:sldMk cId="2655410489" sldId="2147470055"/>
        </pc:sldMkLst>
      </pc:sldChg>
      <pc:sldChg chg="add del setBg">
        <pc:chgData name="sarah-beth.powell@outlook.com" userId="d746eee4a24a9cd1" providerId="LiveId" clId="{E8371B02-BF71-4076-BD9A-E3794E85C30E}" dt="2022-12-21T00:16:29.504" v="105"/>
        <pc:sldMkLst>
          <pc:docMk/>
          <pc:sldMk cId="3091311713" sldId="2147470055"/>
        </pc:sldMkLst>
      </pc:sldChg>
      <pc:sldChg chg="addSp new del mod">
        <pc:chgData name="sarah-beth.powell@outlook.com" userId="d746eee4a24a9cd1" providerId="LiveId" clId="{E8371B02-BF71-4076-BD9A-E3794E85C30E}" dt="2023-01-06T20:24:34.312" v="3222" actId="47"/>
        <pc:sldMkLst>
          <pc:docMk/>
          <pc:sldMk cId="1150593197" sldId="2147470056"/>
        </pc:sldMkLst>
        <pc:picChg chg="add">
          <ac:chgData name="sarah-beth.powell@outlook.com" userId="d746eee4a24a9cd1" providerId="LiveId" clId="{E8371B02-BF71-4076-BD9A-E3794E85C30E}" dt="2023-01-06T20:23:58.866" v="3202" actId="22"/>
          <ac:picMkLst>
            <pc:docMk/>
            <pc:sldMk cId="1150593197" sldId="2147470056"/>
            <ac:picMk id="5" creationId="{C1FB1EA5-38E0-D77C-19AD-8D8EB679D6F0}"/>
          </ac:picMkLst>
        </pc:picChg>
      </pc:sldChg>
      <pc:sldChg chg="add del setBg">
        <pc:chgData name="sarah-beth.powell@outlook.com" userId="d746eee4a24a9cd1" providerId="LiveId" clId="{E8371B02-BF71-4076-BD9A-E3794E85C30E}" dt="2023-01-06T20:24:04.314" v="3204"/>
        <pc:sldMkLst>
          <pc:docMk/>
          <pc:sldMk cId="2115877699" sldId="2147470057"/>
        </pc:sldMkLst>
      </pc:sldChg>
      <pc:sldChg chg="addSp delSp modSp add mod">
        <pc:chgData name="sarah-beth.powell@outlook.com" userId="d746eee4a24a9cd1" providerId="LiveId" clId="{E8371B02-BF71-4076-BD9A-E3794E85C30E}" dt="2023-01-06T20:30:06.682" v="3864" actId="2"/>
        <pc:sldMkLst>
          <pc:docMk/>
          <pc:sldMk cId="2343229446" sldId="2147470057"/>
        </pc:sldMkLst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" creationId="{B081A517-9093-D557-CCC8-72422DDB4CF3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4" creationId="{F5591BBB-A255-D29D-7DE4-7420290AB989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5" creationId="{A290F4D9-BEAC-015B-CB40-97F663783D98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7" creationId="{46FABC1B-3510-2650-3651-10ED879985EC}"/>
          </ac:spMkLst>
        </pc:spChg>
        <pc:spChg chg="mod">
          <ac:chgData name="sarah-beth.powell@outlook.com" userId="d746eee4a24a9cd1" providerId="LiveId" clId="{E8371B02-BF71-4076-BD9A-E3794E85C30E}" dt="2023-01-06T20:24:13.576" v="3216" actId="20577"/>
          <ac:spMkLst>
            <pc:docMk/>
            <pc:sldMk cId="2343229446" sldId="2147470057"/>
            <ac:spMk id="8" creationId="{05A96E7B-3D2E-4C40-AB13-E65299A25E25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9" creationId="{0D610797-3D23-4C1F-B662-1F4CBD325FC5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0" creationId="{40BFBEB8-561F-445D-B118-92666EEDF9BF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1" creationId="{A3EE4623-97CD-7A49-C2EE-8E3495CE2A5D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2" creationId="{EA3EEAF1-64A0-4CBD-AA41-E3D17655B644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3" creationId="{490CF4DD-CC95-488E-B659-EE1B39FC0448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4" creationId="{A19C5807-BD40-969F-836A-5E24A6E2EF19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5" creationId="{F7AEB6BC-007A-9FD4-CD5D-E1BADBAA8DBE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16" creationId="{48EF4007-1E58-E285-FF91-CD54A3386032}"/>
          </ac:spMkLst>
        </pc:spChg>
        <pc:spChg chg="add mod">
          <ac:chgData name="sarah-beth.powell@outlook.com" userId="d746eee4a24a9cd1" providerId="LiveId" clId="{E8371B02-BF71-4076-BD9A-E3794E85C30E}" dt="2023-01-06T20:25:18.295" v="3229" actId="14100"/>
          <ac:spMkLst>
            <pc:docMk/>
            <pc:sldMk cId="2343229446" sldId="2147470057"/>
            <ac:spMk id="17" creationId="{76D95FE1-F659-6CD5-5089-136E51A0F4B7}"/>
          </ac:spMkLst>
        </pc:spChg>
        <pc:spChg chg="add mod">
          <ac:chgData name="sarah-beth.powell@outlook.com" userId="d746eee4a24a9cd1" providerId="LiveId" clId="{E8371B02-BF71-4076-BD9A-E3794E85C30E}" dt="2023-01-06T20:30:06.682" v="3864" actId="2"/>
          <ac:spMkLst>
            <pc:docMk/>
            <pc:sldMk cId="2343229446" sldId="2147470057"/>
            <ac:spMk id="18" creationId="{9693092C-9F66-86FB-CDB3-80AA28ADA408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0" creationId="{2A786B48-5262-5AB0-7CB9-4DB8D8A72E94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6" creationId="{2AC0D795-F16C-F2E0-55B4-C3188F656479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7" creationId="{F3163B21-BAD9-196B-2BA5-4FB50E8F73EA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8" creationId="{FB430392-3C66-17C9-556D-20D7A60E040A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29" creationId="{696FE9AA-9EC6-2476-CCF3-09483EC454F8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30" creationId="{75EB819B-F4F8-965A-F709-386DF449D927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31" creationId="{0BC7E08F-A0A0-6735-6A12-20561E8B81FC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32" creationId="{EDD209C6-4181-A859-1330-2CD687348251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33" creationId="{B20D9543-DCDD-33F3-5F85-5C881344318F}"/>
          </ac:spMkLst>
        </pc:spChg>
        <pc:spChg chg="del">
          <ac:chgData name="sarah-beth.powell@outlook.com" userId="d746eee4a24a9cd1" providerId="LiveId" clId="{E8371B02-BF71-4076-BD9A-E3794E85C30E}" dt="2023-01-06T20:24:08.435" v="3206" actId="478"/>
          <ac:spMkLst>
            <pc:docMk/>
            <pc:sldMk cId="2343229446" sldId="2147470057"/>
            <ac:spMk id="34" creationId="{3E46A7A0-238D-D2A1-DFF2-6524AE11F023}"/>
          </ac:spMkLst>
        </pc:spChg>
        <pc:picChg chg="add mod">
          <ac:chgData name="sarah-beth.powell@outlook.com" userId="d746eee4a24a9cd1" providerId="LiveId" clId="{E8371B02-BF71-4076-BD9A-E3794E85C30E}" dt="2023-01-06T20:24:29.224" v="3221" actId="1076"/>
          <ac:picMkLst>
            <pc:docMk/>
            <pc:sldMk cId="2343229446" sldId="2147470057"/>
            <ac:picMk id="6" creationId="{0B41F4E4-F86E-616A-9A34-6FA6052BB1EC}"/>
          </ac:picMkLst>
        </pc:picChg>
      </pc:sldChg>
      <pc:sldMasterChg chg="modSp mod">
        <pc:chgData name="sarah-beth.powell@outlook.com" userId="d746eee4a24a9cd1" providerId="LiveId" clId="{E8371B02-BF71-4076-BD9A-E3794E85C30E}" dt="2022-12-21T00:17:12.743" v="150" actId="20577"/>
        <pc:sldMasterMkLst>
          <pc:docMk/>
          <pc:sldMasterMk cId="2895159657" sldId="2147483660"/>
        </pc:sldMasterMkLst>
        <pc:spChg chg="mod">
          <ac:chgData name="sarah-beth.powell@outlook.com" userId="d746eee4a24a9cd1" providerId="LiveId" clId="{E8371B02-BF71-4076-BD9A-E3794E85C30E}" dt="2022-12-21T00:17:12.743" v="150" actId="20577"/>
          <ac:spMkLst>
            <pc:docMk/>
            <pc:sldMasterMk cId="2895159657" sldId="2147483660"/>
            <ac:spMk id="65" creationId="{5B538C81-213B-41EC-BB81-FEF313C9D880}"/>
          </ac:spMkLst>
        </pc:spChg>
      </pc:sldMasterChg>
    </pc:docChg>
  </pc:docChgLst>
  <pc:docChgLst>
    <pc:chgData name="sarah-beth.powell@outlook.com" userId="d746eee4a24a9cd1" providerId="LiveId" clId="{DCDBAD5D-85F1-401C-809E-6DF7B5241542}"/>
    <pc:docChg chg="undo custSel addSld delSld modSld delSection modSection">
      <pc:chgData name="sarah-beth.powell@outlook.com" userId="d746eee4a24a9cd1" providerId="LiveId" clId="{DCDBAD5D-85F1-401C-809E-6DF7B5241542}" dt="2022-11-30T22:57:53.627" v="960" actId="14100"/>
      <pc:docMkLst>
        <pc:docMk/>
      </pc:docMkLst>
      <pc:sldChg chg="delSp modSp mod">
        <pc:chgData name="sarah-beth.powell@outlook.com" userId="d746eee4a24a9cd1" providerId="LiveId" clId="{DCDBAD5D-85F1-401C-809E-6DF7B5241542}" dt="2022-11-30T22:17:48.516" v="253" actId="478"/>
        <pc:sldMkLst>
          <pc:docMk/>
          <pc:sldMk cId="476767592" sldId="2147470032"/>
        </pc:sldMkLst>
        <pc:spChg chg="mod">
          <ac:chgData name="sarah-beth.powell@outlook.com" userId="d746eee4a24a9cd1" providerId="LiveId" clId="{DCDBAD5D-85F1-401C-809E-6DF7B5241542}" dt="2022-11-30T22:15:07.838" v="64" actId="20577"/>
          <ac:spMkLst>
            <pc:docMk/>
            <pc:sldMk cId="476767592" sldId="2147470032"/>
            <ac:spMk id="8" creationId="{05A96E7B-3D2E-4C40-AB13-E65299A25E25}"/>
          </ac:spMkLst>
        </pc:spChg>
        <pc:spChg chg="del">
          <ac:chgData name="sarah-beth.powell@outlook.com" userId="d746eee4a24a9cd1" providerId="LiveId" clId="{DCDBAD5D-85F1-401C-809E-6DF7B5241542}" dt="2022-11-30T22:17:48.516" v="253" actId="478"/>
          <ac:spMkLst>
            <pc:docMk/>
            <pc:sldMk cId="476767592" sldId="2147470032"/>
            <ac:spMk id="11" creationId="{004E1258-1BD7-4021-83BC-FB0DE0189687}"/>
          </ac:spMkLst>
        </pc:spChg>
        <pc:spChg chg="mod">
          <ac:chgData name="sarah-beth.powell@outlook.com" userId="d746eee4a24a9cd1" providerId="LiveId" clId="{DCDBAD5D-85F1-401C-809E-6DF7B5241542}" dt="2022-11-30T22:16:27.819" v="194" actId="1076"/>
          <ac:spMkLst>
            <pc:docMk/>
            <pc:sldMk cId="476767592" sldId="2147470032"/>
            <ac:spMk id="12" creationId="{EA3EEAF1-64A0-4CBD-AA41-E3D17655B644}"/>
          </ac:spMkLst>
        </pc:spChg>
        <pc:spChg chg="mod">
          <ac:chgData name="sarah-beth.powell@outlook.com" userId="d746eee4a24a9cd1" providerId="LiveId" clId="{DCDBAD5D-85F1-401C-809E-6DF7B5241542}" dt="2022-11-30T22:17:36.219" v="252" actId="108"/>
          <ac:spMkLst>
            <pc:docMk/>
            <pc:sldMk cId="476767592" sldId="2147470032"/>
            <ac:spMk id="13" creationId="{490CF4DD-CC95-488E-B659-EE1B39FC0448}"/>
          </ac:spMkLst>
        </pc:spChg>
        <pc:spChg chg="del">
          <ac:chgData name="sarah-beth.powell@outlook.com" userId="d746eee4a24a9cd1" providerId="LiveId" clId="{DCDBAD5D-85F1-401C-809E-6DF7B5241542}" dt="2022-11-30T22:17:48.516" v="253" actId="478"/>
          <ac:spMkLst>
            <pc:docMk/>
            <pc:sldMk cId="476767592" sldId="2147470032"/>
            <ac:spMk id="14" creationId="{44A35542-D3B3-4025-8182-8ABB13AC46FA}"/>
          </ac:spMkLst>
        </pc:spChg>
      </pc:sldChg>
      <pc:sldChg chg="modSp mod">
        <pc:chgData name="sarah-beth.powell@outlook.com" userId="d746eee4a24a9cd1" providerId="LiveId" clId="{DCDBAD5D-85F1-401C-809E-6DF7B5241542}" dt="2022-11-30T22:57:53.627" v="960" actId="14100"/>
        <pc:sldMkLst>
          <pc:docMk/>
          <pc:sldMk cId="2395796434" sldId="2147470033"/>
        </pc:sldMkLst>
        <pc:spChg chg="mod">
          <ac:chgData name="sarah-beth.powell@outlook.com" userId="d746eee4a24a9cd1" providerId="LiveId" clId="{DCDBAD5D-85F1-401C-809E-6DF7B5241542}" dt="2022-11-30T22:13:17.932" v="29" actId="20577"/>
          <ac:spMkLst>
            <pc:docMk/>
            <pc:sldMk cId="2395796434" sldId="2147470033"/>
            <ac:spMk id="3" creationId="{67C8B8CF-E940-A5F2-22BE-D7CF4616F295}"/>
          </ac:spMkLst>
        </pc:spChg>
        <pc:spChg chg="mod">
          <ac:chgData name="sarah-beth.powell@outlook.com" userId="d746eee4a24a9cd1" providerId="LiveId" clId="{DCDBAD5D-85F1-401C-809E-6DF7B5241542}" dt="2022-11-30T22:13:28.154" v="47" actId="20577"/>
          <ac:spMkLst>
            <pc:docMk/>
            <pc:sldMk cId="2395796434" sldId="2147470033"/>
            <ac:spMk id="4" creationId="{067BEDFB-4C70-B634-E765-665C7EC34997}"/>
          </ac:spMkLst>
        </pc:spChg>
        <pc:spChg chg="mod">
          <ac:chgData name="sarah-beth.powell@outlook.com" userId="d746eee4a24a9cd1" providerId="LiveId" clId="{DCDBAD5D-85F1-401C-809E-6DF7B5241542}" dt="2022-11-30T22:57:53.627" v="960" actId="14100"/>
          <ac:spMkLst>
            <pc:docMk/>
            <pc:sldMk cId="2395796434" sldId="2147470033"/>
            <ac:spMk id="7" creationId="{7B0307B8-CA0B-530E-BE9F-91A660AB5E42}"/>
          </ac:spMkLst>
        </pc:spChg>
      </pc:sldChg>
      <pc:sldChg chg="del">
        <pc:chgData name="sarah-beth.powell@outlook.com" userId="d746eee4a24a9cd1" providerId="LiveId" clId="{DCDBAD5D-85F1-401C-809E-6DF7B5241542}" dt="2022-11-30T22:13:45.882" v="48" actId="47"/>
        <pc:sldMkLst>
          <pc:docMk/>
          <pc:sldMk cId="2589687159" sldId="2147470035"/>
        </pc:sldMkLst>
      </pc:sldChg>
      <pc:sldChg chg="del">
        <pc:chgData name="sarah-beth.powell@outlook.com" userId="d746eee4a24a9cd1" providerId="LiveId" clId="{DCDBAD5D-85F1-401C-809E-6DF7B5241542}" dt="2022-11-30T22:14:07.709" v="49" actId="47"/>
        <pc:sldMkLst>
          <pc:docMk/>
          <pc:sldMk cId="1188571345" sldId="2147470037"/>
        </pc:sldMkLst>
      </pc:sldChg>
      <pc:sldChg chg="del">
        <pc:chgData name="sarah-beth.powell@outlook.com" userId="d746eee4a24a9cd1" providerId="LiveId" clId="{DCDBAD5D-85F1-401C-809E-6DF7B5241542}" dt="2022-11-30T22:14:09.209" v="50" actId="47"/>
        <pc:sldMkLst>
          <pc:docMk/>
          <pc:sldMk cId="926848701" sldId="2147470039"/>
        </pc:sldMkLst>
      </pc:sldChg>
      <pc:sldChg chg="del">
        <pc:chgData name="sarah-beth.powell@outlook.com" userId="d746eee4a24a9cd1" providerId="LiveId" clId="{DCDBAD5D-85F1-401C-809E-6DF7B5241542}" dt="2022-11-30T22:14:26.823" v="52" actId="47"/>
        <pc:sldMkLst>
          <pc:docMk/>
          <pc:sldMk cId="788222931" sldId="2147470040"/>
        </pc:sldMkLst>
      </pc:sldChg>
      <pc:sldChg chg="del">
        <pc:chgData name="sarah-beth.powell@outlook.com" userId="d746eee4a24a9cd1" providerId="LiveId" clId="{DCDBAD5D-85F1-401C-809E-6DF7B5241542}" dt="2022-11-30T22:14:27.349" v="53" actId="47"/>
        <pc:sldMkLst>
          <pc:docMk/>
          <pc:sldMk cId="1411163170" sldId="2147470041"/>
        </pc:sldMkLst>
      </pc:sldChg>
      <pc:sldChg chg="del">
        <pc:chgData name="sarah-beth.powell@outlook.com" userId="d746eee4a24a9cd1" providerId="LiveId" clId="{DCDBAD5D-85F1-401C-809E-6DF7B5241542}" dt="2022-11-30T22:57:22.608" v="955" actId="47"/>
        <pc:sldMkLst>
          <pc:docMk/>
          <pc:sldMk cId="3681187273" sldId="2147470043"/>
        </pc:sldMkLst>
      </pc:sldChg>
      <pc:sldChg chg="modSp mod">
        <pc:chgData name="sarah-beth.powell@outlook.com" userId="d746eee4a24a9cd1" providerId="LiveId" clId="{DCDBAD5D-85F1-401C-809E-6DF7B5241542}" dt="2022-11-30T22:18:40.714" v="355" actId="20577"/>
        <pc:sldMkLst>
          <pc:docMk/>
          <pc:sldMk cId="212007611" sldId="2147470044"/>
        </pc:sldMkLst>
        <pc:spChg chg="mod">
          <ac:chgData name="sarah-beth.powell@outlook.com" userId="d746eee4a24a9cd1" providerId="LiveId" clId="{DCDBAD5D-85F1-401C-809E-6DF7B5241542}" dt="2022-11-30T22:18:00.733" v="268" actId="20577"/>
          <ac:spMkLst>
            <pc:docMk/>
            <pc:sldMk cId="212007611" sldId="2147470044"/>
            <ac:spMk id="4" creationId="{6D7E54E0-D061-39DE-2462-9FDFF69166F7}"/>
          </ac:spMkLst>
        </pc:spChg>
        <pc:spChg chg="mod">
          <ac:chgData name="sarah-beth.powell@outlook.com" userId="d746eee4a24a9cd1" providerId="LiveId" clId="{DCDBAD5D-85F1-401C-809E-6DF7B5241542}" dt="2022-11-30T22:18:40.714" v="355" actId="20577"/>
          <ac:spMkLst>
            <pc:docMk/>
            <pc:sldMk cId="212007611" sldId="2147470044"/>
            <ac:spMk id="6" creationId="{7D1EDC71-E486-45A5-1F27-E91466FFA99B}"/>
          </ac:spMkLst>
        </pc:spChg>
      </pc:sldChg>
      <pc:sldChg chg="modSp mod">
        <pc:chgData name="sarah-beth.powell@outlook.com" userId="d746eee4a24a9cd1" providerId="LiveId" clId="{DCDBAD5D-85F1-401C-809E-6DF7B5241542}" dt="2022-11-30T22:19:12.515" v="409" actId="20577"/>
        <pc:sldMkLst>
          <pc:docMk/>
          <pc:sldMk cId="1604640989" sldId="2147470045"/>
        </pc:sldMkLst>
        <pc:spChg chg="mod">
          <ac:chgData name="sarah-beth.powell@outlook.com" userId="d746eee4a24a9cd1" providerId="LiveId" clId="{DCDBAD5D-85F1-401C-809E-6DF7B5241542}" dt="2022-11-30T22:18:49.201" v="364" actId="20577"/>
          <ac:spMkLst>
            <pc:docMk/>
            <pc:sldMk cId="1604640989" sldId="2147470045"/>
            <ac:spMk id="4" creationId="{6D7E54E0-D061-39DE-2462-9FDFF69166F7}"/>
          </ac:spMkLst>
        </pc:spChg>
        <pc:spChg chg="mod">
          <ac:chgData name="sarah-beth.powell@outlook.com" userId="d746eee4a24a9cd1" providerId="LiveId" clId="{DCDBAD5D-85F1-401C-809E-6DF7B5241542}" dt="2022-11-30T22:19:12.515" v="409" actId="20577"/>
          <ac:spMkLst>
            <pc:docMk/>
            <pc:sldMk cId="1604640989" sldId="2147470045"/>
            <ac:spMk id="6" creationId="{7D1EDC71-E486-45A5-1F27-E91466FFA99B}"/>
          </ac:spMkLst>
        </pc:spChg>
      </pc:sldChg>
      <pc:sldChg chg="del">
        <pc:chgData name="sarah-beth.powell@outlook.com" userId="d746eee4a24a9cd1" providerId="LiveId" clId="{DCDBAD5D-85F1-401C-809E-6DF7B5241542}" dt="2022-11-30T22:14:15.053" v="51" actId="47"/>
        <pc:sldMkLst>
          <pc:docMk/>
          <pc:sldMk cId="978990435" sldId="2147470046"/>
        </pc:sldMkLst>
      </pc:sldChg>
      <pc:sldChg chg="del">
        <pc:chgData name="sarah-beth.powell@outlook.com" userId="d746eee4a24a9cd1" providerId="LiveId" clId="{DCDBAD5D-85F1-401C-809E-6DF7B5241542}" dt="2022-11-30T22:19:23.093" v="411" actId="47"/>
        <pc:sldMkLst>
          <pc:docMk/>
          <pc:sldMk cId="480943051" sldId="2147470047"/>
        </pc:sldMkLst>
      </pc:sldChg>
      <pc:sldChg chg="del">
        <pc:chgData name="sarah-beth.powell@outlook.com" userId="d746eee4a24a9cd1" providerId="LiveId" clId="{DCDBAD5D-85F1-401C-809E-6DF7B5241542}" dt="2022-11-30T22:19:22.364" v="410" actId="47"/>
        <pc:sldMkLst>
          <pc:docMk/>
          <pc:sldMk cId="1599015932" sldId="2147470048"/>
        </pc:sldMkLst>
      </pc:sldChg>
      <pc:sldChg chg="del">
        <pc:chgData name="sarah-beth.powell@outlook.com" userId="d746eee4a24a9cd1" providerId="LiveId" clId="{DCDBAD5D-85F1-401C-809E-6DF7B5241542}" dt="2022-11-30T22:57:21.793" v="954" actId="47"/>
        <pc:sldMkLst>
          <pc:docMk/>
          <pc:sldMk cId="3236556928" sldId="2147470049"/>
        </pc:sldMkLst>
      </pc:sldChg>
      <pc:sldChg chg="del">
        <pc:chgData name="sarah-beth.powell@outlook.com" userId="d746eee4a24a9cd1" providerId="LiveId" clId="{DCDBAD5D-85F1-401C-809E-6DF7B5241542}" dt="2022-11-30T22:14:37.929" v="54" actId="47"/>
        <pc:sldMkLst>
          <pc:docMk/>
          <pc:sldMk cId="1502837710" sldId="2147470050"/>
        </pc:sldMkLst>
      </pc:sldChg>
      <pc:sldChg chg="del">
        <pc:chgData name="sarah-beth.powell@outlook.com" userId="d746eee4a24a9cd1" providerId="LiveId" clId="{DCDBAD5D-85F1-401C-809E-6DF7B5241542}" dt="2022-11-30T22:57:23.073" v="956" actId="47"/>
        <pc:sldMkLst>
          <pc:docMk/>
          <pc:sldMk cId="2054253381" sldId="2147470051"/>
        </pc:sldMkLst>
      </pc:sldChg>
      <pc:sldChg chg="add del setBg">
        <pc:chgData name="sarah-beth.powell@outlook.com" userId="d746eee4a24a9cd1" providerId="LiveId" clId="{DCDBAD5D-85F1-401C-809E-6DF7B5241542}" dt="2022-11-30T22:22:04.529" v="413"/>
        <pc:sldMkLst>
          <pc:docMk/>
          <pc:sldMk cId="932478906" sldId="2147470052"/>
        </pc:sldMkLst>
      </pc:sldChg>
      <pc:sldChg chg="addSp delSp modSp add mod">
        <pc:chgData name="sarah-beth.powell@outlook.com" userId="d746eee4a24a9cd1" providerId="LiveId" clId="{DCDBAD5D-85F1-401C-809E-6DF7B5241542}" dt="2022-11-30T22:22:53.233" v="423"/>
        <pc:sldMkLst>
          <pc:docMk/>
          <pc:sldMk cId="1842391159" sldId="2147470052"/>
        </pc:sldMkLst>
        <pc:spChg chg="del">
          <ac:chgData name="sarah-beth.powell@outlook.com" userId="d746eee4a24a9cd1" providerId="LiveId" clId="{DCDBAD5D-85F1-401C-809E-6DF7B5241542}" dt="2022-11-30T22:22:08.260" v="415" actId="478"/>
          <ac:spMkLst>
            <pc:docMk/>
            <pc:sldMk cId="1842391159" sldId="2147470052"/>
            <ac:spMk id="9" creationId="{0D610797-3D23-4C1F-B662-1F4CBD325FC5}"/>
          </ac:spMkLst>
        </pc:spChg>
        <pc:spChg chg="del">
          <ac:chgData name="sarah-beth.powell@outlook.com" userId="d746eee4a24a9cd1" providerId="LiveId" clId="{DCDBAD5D-85F1-401C-809E-6DF7B5241542}" dt="2022-11-30T22:22:08.260" v="415" actId="478"/>
          <ac:spMkLst>
            <pc:docMk/>
            <pc:sldMk cId="1842391159" sldId="2147470052"/>
            <ac:spMk id="10" creationId="{40BFBEB8-561F-445D-B118-92666EEDF9BF}"/>
          </ac:spMkLst>
        </pc:spChg>
        <pc:spChg chg="del">
          <ac:chgData name="sarah-beth.powell@outlook.com" userId="d746eee4a24a9cd1" providerId="LiveId" clId="{DCDBAD5D-85F1-401C-809E-6DF7B5241542}" dt="2022-11-30T22:22:10.608" v="417" actId="478"/>
          <ac:spMkLst>
            <pc:docMk/>
            <pc:sldMk cId="1842391159" sldId="2147470052"/>
            <ac:spMk id="12" creationId="{EA3EEAF1-64A0-4CBD-AA41-E3D17655B644}"/>
          </ac:spMkLst>
        </pc:spChg>
        <pc:spChg chg="del">
          <ac:chgData name="sarah-beth.powell@outlook.com" userId="d746eee4a24a9cd1" providerId="LiveId" clId="{DCDBAD5D-85F1-401C-809E-6DF7B5241542}" dt="2022-11-30T22:22:09.344" v="416" actId="478"/>
          <ac:spMkLst>
            <pc:docMk/>
            <pc:sldMk cId="1842391159" sldId="2147470052"/>
            <ac:spMk id="13" creationId="{490CF4DD-CC95-488E-B659-EE1B39FC0448}"/>
          </ac:spMkLst>
        </pc:spChg>
        <pc:picChg chg="add mod">
          <ac:chgData name="sarah-beth.powell@outlook.com" userId="d746eee4a24a9cd1" providerId="LiveId" clId="{DCDBAD5D-85F1-401C-809E-6DF7B5241542}" dt="2022-11-30T22:22:53.233" v="423"/>
          <ac:picMkLst>
            <pc:docMk/>
            <pc:sldMk cId="1842391159" sldId="2147470052"/>
            <ac:picMk id="4" creationId="{C462B9B5-A0CB-0915-308E-88197C83E882}"/>
          </ac:picMkLst>
        </pc:picChg>
      </pc:sldChg>
      <pc:sldChg chg="addSp modSp add mod">
        <pc:chgData name="sarah-beth.powell@outlook.com" userId="d746eee4a24a9cd1" providerId="LiveId" clId="{DCDBAD5D-85F1-401C-809E-6DF7B5241542}" dt="2022-11-30T22:53:15.835" v="953" actId="1076"/>
        <pc:sldMkLst>
          <pc:docMk/>
          <pc:sldMk cId="782457656" sldId="2147470053"/>
        </pc:sldMkLst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2" creationId="{B081A517-9093-D557-CCC8-72422DDB4CF3}"/>
          </ac:spMkLst>
        </pc:spChg>
        <pc:spChg chg="add mod">
          <ac:chgData name="sarah-beth.powell@outlook.com" userId="d746eee4a24a9cd1" providerId="LiveId" clId="{DCDBAD5D-85F1-401C-809E-6DF7B5241542}" dt="2022-11-30T22:30:55.874" v="937" actId="20577"/>
          <ac:spMkLst>
            <pc:docMk/>
            <pc:sldMk cId="782457656" sldId="2147470053"/>
            <ac:spMk id="4" creationId="{F5591BBB-A255-D29D-7DE4-7420290AB989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5" creationId="{A290F4D9-BEAC-015B-CB40-97F663783D98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6" creationId="{F4BA159B-DDE3-9832-7B3E-62827A78CF56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7" creationId="{46FABC1B-3510-2650-3651-10ED879985EC}"/>
          </ac:spMkLst>
        </pc:spChg>
        <pc:spChg chg="mod">
          <ac:chgData name="sarah-beth.powell@outlook.com" userId="d746eee4a24a9cd1" providerId="LiveId" clId="{DCDBAD5D-85F1-401C-809E-6DF7B5241542}" dt="2022-11-30T22:23:54.079" v="489" actId="20577"/>
          <ac:spMkLst>
            <pc:docMk/>
            <pc:sldMk cId="782457656" sldId="2147470053"/>
            <ac:spMk id="8" creationId="{05A96E7B-3D2E-4C40-AB13-E65299A25E25}"/>
          </ac:spMkLst>
        </pc:spChg>
        <pc:spChg chg="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9" creationId="{0D610797-3D23-4C1F-B662-1F4CBD325FC5}"/>
          </ac:spMkLst>
        </pc:spChg>
        <pc:spChg chg="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0" creationId="{40BFBEB8-561F-445D-B118-92666EEDF9BF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1" creationId="{A3EE4623-97CD-7A49-C2EE-8E3495CE2A5D}"/>
          </ac:spMkLst>
        </pc:spChg>
        <pc:spChg chg="mod">
          <ac:chgData name="sarah-beth.powell@outlook.com" userId="d746eee4a24a9cd1" providerId="LiveId" clId="{DCDBAD5D-85F1-401C-809E-6DF7B5241542}" dt="2022-11-30T22:30:39.816" v="911" actId="20577"/>
          <ac:spMkLst>
            <pc:docMk/>
            <pc:sldMk cId="782457656" sldId="2147470053"/>
            <ac:spMk id="12" creationId="{EA3EEAF1-64A0-4CBD-AA41-E3D17655B644}"/>
          </ac:spMkLst>
        </pc:spChg>
        <pc:spChg chg="mod">
          <ac:chgData name="sarah-beth.powell@outlook.com" userId="d746eee4a24a9cd1" providerId="LiveId" clId="{DCDBAD5D-85F1-401C-809E-6DF7B5241542}" dt="2022-11-30T22:30:33.304" v="909" actId="1076"/>
          <ac:spMkLst>
            <pc:docMk/>
            <pc:sldMk cId="782457656" sldId="2147470053"/>
            <ac:spMk id="13" creationId="{490CF4DD-CC95-488E-B659-EE1B39FC0448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4" creationId="{A19C5807-BD40-969F-836A-5E24A6E2EF19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5" creationId="{F7AEB6BC-007A-9FD4-CD5D-E1BADBAA8DBE}"/>
          </ac:spMkLst>
        </pc:spChg>
        <pc:spChg chg="add mod">
          <ac:chgData name="sarah-beth.powell@outlook.com" userId="d746eee4a24a9cd1" providerId="LiveId" clId="{DCDBAD5D-85F1-401C-809E-6DF7B5241542}" dt="2022-11-30T22:29:11.116" v="908" actId="14100"/>
          <ac:spMkLst>
            <pc:docMk/>
            <pc:sldMk cId="782457656" sldId="2147470053"/>
            <ac:spMk id="16" creationId="{48EF4007-1E58-E285-FF91-CD54A3386032}"/>
          </ac:spMkLst>
        </pc:spChg>
        <pc:spChg chg="add mod">
          <ac:chgData name="sarah-beth.powell@outlook.com" userId="d746eee4a24a9cd1" providerId="LiveId" clId="{DCDBAD5D-85F1-401C-809E-6DF7B5241542}" dt="2022-11-30T22:52:02.267" v="949" actId="14100"/>
          <ac:spMkLst>
            <pc:docMk/>
            <pc:sldMk cId="782457656" sldId="2147470053"/>
            <ac:spMk id="19" creationId="{FF9DE081-AA09-BB5E-709B-63AAB98C886B}"/>
          </ac:spMkLst>
        </pc:spChg>
        <pc:picChg chg="add mod">
          <ac:chgData name="sarah-beth.powell@outlook.com" userId="d746eee4a24a9cd1" providerId="LiveId" clId="{DCDBAD5D-85F1-401C-809E-6DF7B5241542}" dt="2022-11-30T22:50:55.043" v="941" actId="1076"/>
          <ac:picMkLst>
            <pc:docMk/>
            <pc:sldMk cId="782457656" sldId="2147470053"/>
            <ac:picMk id="18" creationId="{EC3932BE-FC4E-8236-1A83-F0D7447B8B2E}"/>
          </ac:picMkLst>
        </pc:picChg>
        <pc:picChg chg="add mod">
          <ac:chgData name="sarah-beth.powell@outlook.com" userId="d746eee4a24a9cd1" providerId="LiveId" clId="{DCDBAD5D-85F1-401C-809E-6DF7B5241542}" dt="2022-11-30T22:53:15.835" v="953" actId="1076"/>
          <ac:picMkLst>
            <pc:docMk/>
            <pc:sldMk cId="782457656" sldId="2147470053"/>
            <ac:picMk id="21" creationId="{C9479E5B-86CD-4099-E7AE-C0CBC8021FD6}"/>
          </ac:picMkLst>
        </pc:picChg>
      </pc:sldChg>
      <pc:sldChg chg="add del setBg">
        <pc:chgData name="sarah-beth.powell@outlook.com" userId="d746eee4a24a9cd1" providerId="LiveId" clId="{DCDBAD5D-85F1-401C-809E-6DF7B5241542}" dt="2022-11-30T22:23:08.174" v="425"/>
        <pc:sldMkLst>
          <pc:docMk/>
          <pc:sldMk cId="3686486907" sldId="2147470053"/>
        </pc:sldMkLst>
      </pc:sldChg>
      <pc:sldChg chg="add del setBg">
        <pc:chgData name="sarah-beth.powell@outlook.com" userId="d746eee4a24a9cd1" providerId="LiveId" clId="{DCDBAD5D-85F1-401C-809E-6DF7B5241542}" dt="2022-11-30T22:24:46.958" v="589"/>
        <pc:sldMkLst>
          <pc:docMk/>
          <pc:sldMk cId="2245625061" sldId="214747005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038F-06D1-4781-9DBF-AEA9C5381221}" type="datetimeFigureOut">
              <a:rPr lang="en-US" smtClean="0"/>
              <a:t>1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293B39-3F96-4778-8FBA-79E2618FC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082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90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529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7930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 3: P-value was 0.1614 &gt; 0.05 meaning that the smaller model is sufficient. Include this in the analysis. </a:t>
            </a:r>
          </a:p>
          <a:p>
            <a:r>
              <a:rPr lang="en-US" dirty="0"/>
              <a:t>Step5: P-value was 4.877e-12 *** &lt; 0.05 meaning that the smaller model is NOT sufficient. Back to the drawing board.</a:t>
            </a:r>
          </a:p>
          <a:p>
            <a:r>
              <a:rPr lang="en-US" dirty="0"/>
              <a:t>Step 7: P-value was 0.1431 which is &gt; 0.05 meaning that the smaller model IS sufficient. </a:t>
            </a:r>
          </a:p>
          <a:p>
            <a:r>
              <a:rPr lang="en-US" dirty="0"/>
              <a:t>Step 9: P-value was 0.05302 which is &gt; 0.05 meaning that the smaller model IS sufficient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274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 3: P-value was 0.1614 &gt; 0.05 meaning that the smaller model is sufficient. Include this in the analysis. </a:t>
            </a:r>
          </a:p>
          <a:p>
            <a:r>
              <a:rPr lang="en-US" dirty="0"/>
              <a:t>Step5: P-value was 4.877e-12 *** &lt; 0.05 meaning that the smaller model is NOT sufficient. Back to the drawing board.</a:t>
            </a:r>
          </a:p>
          <a:p>
            <a:r>
              <a:rPr lang="en-US" dirty="0"/>
              <a:t>Step 7: P-value was 0.1431 which is &gt; 0.05 meaning that the smaller model IS sufficient. </a:t>
            </a:r>
          </a:p>
          <a:p>
            <a:r>
              <a:rPr lang="en-US" dirty="0"/>
              <a:t>Step 9: P-value was 0.05302 which is &gt; 0.05 meaning that the smaller model IS sufficient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26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831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8931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53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dark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807885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creen imag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B0CAFF-8B20-4B52-A18C-BFD139761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951673"/>
            <a:ext cx="4562475" cy="2954655"/>
          </a:xfrm>
        </p:spPr>
        <p:txBody>
          <a:bodyPr vert="horz" wrap="square" lIns="72000" tIns="0" rIns="0" bIns="0" rtlCol="0" anchor="ctr">
            <a:spAutoFit/>
          </a:bodyPr>
          <a:lstStyle>
            <a:lvl1pPr>
              <a:lnSpc>
                <a:spcPct val="80000"/>
              </a:lnSpc>
              <a:defRPr lang="en-GB" sz="6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71559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6421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3518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47127"/>
            <a:ext cx="11386134" cy="1661993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473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4141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0009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304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47127"/>
            <a:ext cx="11386134" cy="1661993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3463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60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1324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2EA657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9022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8997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8108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49712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dark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642773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creen imag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B0CAFF-8B20-4B52-A18C-BFD139761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951673"/>
            <a:ext cx="4562475" cy="2954655"/>
          </a:xfrm>
        </p:spPr>
        <p:txBody>
          <a:bodyPr vert="horz" wrap="square" lIns="72000" tIns="0" rIns="0" bIns="0" rtlCol="0" anchor="ctr">
            <a:spAutoFit/>
          </a:bodyPr>
          <a:lstStyle>
            <a:lvl1pPr>
              <a:lnSpc>
                <a:spcPct val="80000"/>
              </a:lnSpc>
              <a:defRPr lang="en-GB" sz="6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3236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5364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3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267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3890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3187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2EA657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288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917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75786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sp>
        <p:nvSpPr>
          <p:cNvPr id="65" name="Rectangle 27">
            <a:extLst>
              <a:ext uri="{FF2B5EF4-FFF2-40B4-BE49-F238E27FC236}">
                <a16:creationId xmlns:a16="http://schemas.microsoft.com/office/drawing/2014/main" id="{5B538C81-213B-41EC-BB81-FEF313C9D880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arah Beth Powell | R Shiny App</a:t>
            </a:r>
          </a:p>
        </p:txBody>
      </p: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80E85D-EB3B-0005-D6A1-4003D4BA35E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4735" y="124898"/>
            <a:ext cx="433916" cy="43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159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6" r:id="rId14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75786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sp>
        <p:nvSpPr>
          <p:cNvPr id="65" name="Rectangle 27">
            <a:extLst>
              <a:ext uri="{FF2B5EF4-FFF2-40B4-BE49-F238E27FC236}">
                <a16:creationId xmlns:a16="http://schemas.microsoft.com/office/drawing/2014/main" id="{5B538C81-213B-41EC-BB81-FEF313C9D880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arah Beth Powell | Exploratory Data Analysis</a:t>
            </a:r>
          </a:p>
        </p:txBody>
      </p: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80E85D-EB3B-0005-D6A1-4003D4BA35E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4735" y="124898"/>
            <a:ext cx="433916" cy="43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640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powellsarahbeth.shinyapps.io/PCOS_Diagnostic_Tool?_ga=2.89588499.968017502.1669842079-1712974614.1669842079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docrine.org/news-and-advocacy/news-room/2021/treating-polycystic-ovary-syndrome-costs-8-billion-a-year-in-us-alone#:~:text=The%20most%20common%20hormone%20disorder,Journal%20of%20Clinical%20Endocrinology%20%26%20Metabolism.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kaggle.com/datasets/prasoonkottarathil/polycystic-ovary-syndrome-pco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B2374A2-E20D-32F7-5D9D-DABED0E58E5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5" r="19295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7C8B8CF-E940-A5F2-22BE-D7CF4616F2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600164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R Shiny Web Application </a:t>
            </a:r>
          </a:p>
          <a:p>
            <a:r>
              <a:rPr lang="en-US" sz="1400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ept 2022 Cohort | Sarah Beth Powel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0307B8-CA0B-530E-BE9F-91A660AB5E42}"/>
              </a:ext>
            </a:extLst>
          </p:cNvPr>
          <p:cNvSpPr/>
          <p:nvPr/>
        </p:nvSpPr>
        <p:spPr>
          <a:xfrm>
            <a:off x="5300132" y="0"/>
            <a:ext cx="6891867" cy="6858000"/>
          </a:xfrm>
          <a:prstGeom prst="rect">
            <a:avLst/>
          </a:prstGeom>
          <a:solidFill>
            <a:srgbClr val="7088B0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7BEDFB-4C70-B634-E765-665C7EC349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813" y="1634023"/>
            <a:ext cx="9247187" cy="1994392"/>
          </a:xfrm>
        </p:spPr>
        <p:txBody>
          <a:bodyPr/>
          <a:lstStyle/>
          <a:p>
            <a: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  <a:t>Polycystic Ovarian Syndrome Diagnostic </a:t>
            </a:r>
            <a:b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  <a:t>Tool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74B38F-C118-0B60-FDBE-41FDE0FE8C4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8293" y="192311"/>
            <a:ext cx="544674" cy="54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964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5A5C48B1-3FF7-3E2D-FC64-940771766F75}"/>
              </a:ext>
            </a:extLst>
          </p:cNvPr>
          <p:cNvGrpSpPr/>
          <p:nvPr/>
        </p:nvGrpSpPr>
        <p:grpSpPr>
          <a:xfrm>
            <a:off x="1586538" y="914401"/>
            <a:ext cx="8800963" cy="5154640"/>
            <a:chOff x="1586538" y="914401"/>
            <a:chExt cx="8800963" cy="515464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DA86233-542D-B0DA-44C3-12178C3082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97" t="2338" r="3005" b="2877"/>
            <a:stretch/>
          </p:blipFill>
          <p:spPr>
            <a:xfrm>
              <a:off x="1586538" y="914401"/>
              <a:ext cx="8800963" cy="5154640"/>
            </a:xfrm>
            <a:prstGeom prst="rect">
              <a:avLst/>
            </a:prstGeom>
          </p:spPr>
        </p:pic>
        <p:pic>
          <p:nvPicPr>
            <p:cNvPr id="7" name="Picture 6">
              <a:hlinkClick r:id="rId3"/>
              <a:extLst>
                <a:ext uri="{FF2B5EF4-FFF2-40B4-BE49-F238E27FC236}">
                  <a16:creationId xmlns:a16="http://schemas.microsoft.com/office/drawing/2014/main" id="{A536BA3D-7EEB-6E56-405F-8AE6CC36F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26266" y="1346200"/>
              <a:ext cx="6524651" cy="4055533"/>
            </a:xfrm>
            <a:prstGeom prst="rect">
              <a:avLst/>
            </a:prstGeom>
          </p:spPr>
        </p:pic>
      </p:grpSp>
      <p:sp>
        <p:nvSpPr>
          <p:cNvPr id="9" name="Title 4">
            <a:extLst>
              <a:ext uri="{FF2B5EF4-FFF2-40B4-BE49-F238E27FC236}">
                <a16:creationId xmlns:a16="http://schemas.microsoft.com/office/drawing/2014/main" id="{AE0F1A57-E49D-0ED8-569A-DB3B705FB681}"/>
              </a:ext>
            </a:extLst>
          </p:cNvPr>
          <p:cNvSpPr txBox="1">
            <a:spLocks/>
          </p:cNvSpPr>
          <p:nvPr/>
        </p:nvSpPr>
        <p:spPr>
          <a:xfrm>
            <a:off x="404813" y="572393"/>
            <a:ext cx="10947772" cy="348300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0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R shiny app</a:t>
            </a:r>
          </a:p>
        </p:txBody>
      </p:sp>
    </p:spTree>
    <p:extLst>
      <p:ext uri="{BB962C8B-B14F-4D97-AF65-F5344CB8AC3E}">
        <p14:creationId xmlns:p14="http://schemas.microsoft.com/office/powerpoint/2010/main" val="29944430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E54E0-D061-39DE-2462-9FDFF691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6210" y="1089405"/>
            <a:ext cx="4611067" cy="430887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+mn-lt"/>
              </a:rPr>
              <a:t>Potential Enhancem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EDC71-E486-45A5-1F27-E91466FFA99B}"/>
              </a:ext>
            </a:extLst>
          </p:cNvPr>
          <p:cNvSpPr txBox="1"/>
          <p:nvPr/>
        </p:nvSpPr>
        <p:spPr>
          <a:xfrm>
            <a:off x="436209" y="1749805"/>
            <a:ext cx="11199307" cy="4462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Roboto"/>
              </a:rPr>
              <a:t>Modeling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ootstrap</a:t>
            </a:r>
            <a:r>
              <a:rPr lang="en-US" sz="2400" dirty="0">
                <a:solidFill>
                  <a:srgbClr val="202A44"/>
                </a:solidFill>
                <a:latin typeface="Roboto"/>
              </a:rPr>
              <a:t> to increase sample size to improve model performance</a:t>
            </a:r>
            <a:endParaRPr kumimoji="0" lang="en-US" sz="2400" b="0" i="0" u="none" strike="noStrike" kern="1200" cap="none" spc="0" normalizeH="0" baseline="3000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ry other classifier models such as Support</a:t>
            </a:r>
            <a:r>
              <a:rPr lang="en-US" sz="2400" dirty="0">
                <a:solidFill>
                  <a:srgbClr val="202A44"/>
                </a:solidFill>
                <a:latin typeface="Roboto"/>
              </a:rPr>
              <a:t> Vector Classifier or K-Neighbor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eb Application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202A44"/>
                </a:solidFill>
                <a:latin typeface="Roboto"/>
              </a:rPr>
              <a:t>Create more inputs for the higher performance model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verlay prediction on the Sigmoid Function </a:t>
            </a:r>
            <a:r>
              <a:rPr lang="en-US" sz="2400" dirty="0">
                <a:solidFill>
                  <a:srgbClr val="202A44"/>
                </a:solidFill>
                <a:latin typeface="Roboto"/>
              </a:rPr>
              <a:t>visualization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uture Use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202A44"/>
                </a:solidFill>
                <a:latin typeface="Roboto"/>
              </a:rPr>
              <a:t>Enhance with more data to aid in research opportunities for heath research organizations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se as a patient advocate tool</a:t>
            </a:r>
            <a:r>
              <a:rPr lang="en-US" sz="2400" dirty="0">
                <a:solidFill>
                  <a:srgbClr val="202A44"/>
                </a:solidFill>
                <a:latin typeface="Roboto"/>
              </a:rPr>
              <a:t> to aid in their healthcare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A1C4E47-FDF4-360B-F093-0961F80117BE}"/>
              </a:ext>
            </a:extLst>
          </p:cNvPr>
          <p:cNvSpPr/>
          <p:nvPr/>
        </p:nvSpPr>
        <p:spPr>
          <a:xfrm>
            <a:off x="-251682" y="953882"/>
            <a:ext cx="9101666" cy="660400"/>
          </a:xfrm>
          <a:prstGeom prst="roundRect">
            <a:avLst/>
          </a:prstGeom>
          <a:noFill/>
          <a:ln w="28575">
            <a:solidFill>
              <a:srgbClr val="FF926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25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3000"/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4B7F11F-1776-4F29-2718-B3ED3151C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" y="388188"/>
            <a:ext cx="4876314" cy="880775"/>
          </a:xfrm>
        </p:spPr>
        <p:txBody>
          <a:bodyPr/>
          <a:lstStyle/>
          <a:p>
            <a:r>
              <a:rPr lang="en-US" sz="3600" b="1" dirty="0">
                <a:solidFill>
                  <a:srgbClr val="202A44"/>
                </a:solidFill>
              </a:rPr>
              <a:t>What you should know about 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D26B3D11-8C7A-98BB-338F-15657BAA4B5B}"/>
              </a:ext>
            </a:extLst>
          </p:cNvPr>
          <p:cNvSpPr txBox="1">
            <a:spLocks/>
          </p:cNvSpPr>
          <p:nvPr/>
        </p:nvSpPr>
        <p:spPr>
          <a:xfrm>
            <a:off x="3892906" y="509486"/>
            <a:ext cx="4876314" cy="7594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 dirty="0">
                <a:solidFill>
                  <a:srgbClr val="7088B0"/>
                </a:solidFill>
              </a:rPr>
              <a:t>PCOS</a:t>
            </a:r>
          </a:p>
          <a:p>
            <a:pPr algn="ctr"/>
            <a:r>
              <a:rPr lang="en-US" sz="1100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Polycystic ovary syndrome)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96DABDD-3250-1E81-CD18-8302FEA4135C}"/>
              </a:ext>
            </a:extLst>
          </p:cNvPr>
          <p:cNvSpPr/>
          <p:nvPr/>
        </p:nvSpPr>
        <p:spPr>
          <a:xfrm>
            <a:off x="423715" y="1740434"/>
            <a:ext cx="7591281" cy="1912776"/>
          </a:xfrm>
          <a:prstGeom prst="roundRect">
            <a:avLst/>
          </a:prstGeom>
          <a:noFill/>
          <a:ln w="28575">
            <a:solidFill>
              <a:srgbClr val="202A4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202A44"/>
                </a:solidFill>
              </a:rPr>
              <a:t>Affecting an estimated 5 to 6 million women in the United States, </a:t>
            </a:r>
            <a:r>
              <a:rPr lang="en-US" dirty="0">
                <a:solidFill>
                  <a:srgbClr val="7088B0"/>
                </a:solidFill>
              </a:rPr>
              <a:t>PCOS</a:t>
            </a:r>
            <a:r>
              <a:rPr lang="en-US" dirty="0">
                <a:solidFill>
                  <a:srgbClr val="202A44"/>
                </a:solidFill>
              </a:rPr>
              <a:t> is the most common cause for infertility. The </a:t>
            </a:r>
            <a:r>
              <a:rPr lang="en-US" dirty="0">
                <a:solidFill>
                  <a:srgbClr val="7088B0"/>
                </a:solidFill>
              </a:rPr>
              <a:t>exact cause of PCOS is unknown</a:t>
            </a:r>
            <a:r>
              <a:rPr lang="en-US" dirty="0">
                <a:solidFill>
                  <a:srgbClr val="202A44"/>
                </a:solidFill>
              </a:rPr>
              <a:t>, but research suggests that elevated levels of androgens and insulin maybe related to the condition. PCOS impacts women of all ages, even post-child bearing age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81BDF7-CDF5-81D5-BB14-62A131CCF669}"/>
              </a:ext>
            </a:extLst>
          </p:cNvPr>
          <p:cNvSpPr txBox="1"/>
          <p:nvPr/>
        </p:nvSpPr>
        <p:spPr>
          <a:xfrm>
            <a:off x="818227" y="1555768"/>
            <a:ext cx="1710369" cy="369332"/>
          </a:xfrm>
          <a:prstGeom prst="rect">
            <a:avLst/>
          </a:prstGeom>
          <a:solidFill>
            <a:srgbClr val="FCFCFD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at is </a:t>
            </a:r>
            <a:r>
              <a:rPr lang="en-US" dirty="0">
                <a:solidFill>
                  <a:srgbClr val="7088B0"/>
                </a:solidFill>
              </a:rPr>
              <a:t>PCOS</a:t>
            </a:r>
            <a:r>
              <a:rPr lang="en-US" dirty="0"/>
              <a:t>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FE7E78-9AFD-CBCE-0186-FC95722BCF72}"/>
              </a:ext>
            </a:extLst>
          </p:cNvPr>
          <p:cNvCxnSpPr/>
          <p:nvPr/>
        </p:nvCxnSpPr>
        <p:spPr>
          <a:xfrm>
            <a:off x="541176" y="3984171"/>
            <a:ext cx="10898155" cy="0"/>
          </a:xfrm>
          <a:prstGeom prst="line">
            <a:avLst/>
          </a:prstGeom>
          <a:ln w="28575">
            <a:solidFill>
              <a:srgbClr val="7088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7DCECC-BDC5-A605-8520-DFB84AC15A0C}"/>
              </a:ext>
            </a:extLst>
          </p:cNvPr>
          <p:cNvCxnSpPr/>
          <p:nvPr/>
        </p:nvCxnSpPr>
        <p:spPr>
          <a:xfrm>
            <a:off x="550507" y="6058677"/>
            <a:ext cx="10898155" cy="0"/>
          </a:xfrm>
          <a:prstGeom prst="line">
            <a:avLst/>
          </a:prstGeom>
          <a:ln w="28575">
            <a:solidFill>
              <a:srgbClr val="7088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F6B309-8465-CD10-5E0A-AD74D9F3DF0F}"/>
              </a:ext>
            </a:extLst>
          </p:cNvPr>
          <p:cNvCxnSpPr/>
          <p:nvPr/>
        </p:nvCxnSpPr>
        <p:spPr>
          <a:xfrm>
            <a:off x="5756988" y="4142792"/>
            <a:ext cx="0" cy="17634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7962B3D-5F83-90C5-7F13-E095F174D0F5}"/>
              </a:ext>
            </a:extLst>
          </p:cNvPr>
          <p:cNvSpPr txBox="1"/>
          <p:nvPr/>
        </p:nvSpPr>
        <p:spPr>
          <a:xfrm>
            <a:off x="636523" y="4013876"/>
            <a:ext cx="3823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926B"/>
                </a:solidFill>
              </a:rPr>
              <a:t>Common Symptoms &amp; Impac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DA8088-E9E2-3A56-7A12-F4932C8DE143}"/>
              </a:ext>
            </a:extLst>
          </p:cNvPr>
          <p:cNvSpPr txBox="1"/>
          <p:nvPr/>
        </p:nvSpPr>
        <p:spPr>
          <a:xfrm>
            <a:off x="651367" y="4304351"/>
            <a:ext cx="483325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02A44"/>
                </a:solidFill>
              </a:rPr>
              <a:t>Excess hair growth on face &amp; body</a:t>
            </a:r>
          </a:p>
          <a:p>
            <a:r>
              <a:rPr lang="en-US" dirty="0">
                <a:solidFill>
                  <a:srgbClr val="202A44"/>
                </a:solidFill>
              </a:rPr>
              <a:t>Irregular cycles &amp; Infertility</a:t>
            </a:r>
          </a:p>
          <a:p>
            <a:r>
              <a:rPr lang="en-US" dirty="0">
                <a:solidFill>
                  <a:srgbClr val="202A44"/>
                </a:solidFill>
              </a:rPr>
              <a:t>Weight gain </a:t>
            </a:r>
          </a:p>
          <a:p>
            <a:r>
              <a:rPr lang="en-US" dirty="0">
                <a:solidFill>
                  <a:srgbClr val="202A44"/>
                </a:solidFill>
              </a:rPr>
              <a:t>Acne</a:t>
            </a:r>
          </a:p>
          <a:p>
            <a:r>
              <a:rPr lang="en-US" dirty="0">
                <a:solidFill>
                  <a:srgbClr val="202A44"/>
                </a:solidFill>
              </a:rPr>
              <a:t>Diabetes</a:t>
            </a:r>
          </a:p>
          <a:p>
            <a:r>
              <a:rPr lang="en-US" dirty="0">
                <a:solidFill>
                  <a:srgbClr val="202A44"/>
                </a:solidFill>
              </a:rPr>
              <a:t>Heart Dise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268A82-15F2-9458-F3C7-E4D66328C691}"/>
              </a:ext>
            </a:extLst>
          </p:cNvPr>
          <p:cNvSpPr txBox="1"/>
          <p:nvPr/>
        </p:nvSpPr>
        <p:spPr>
          <a:xfrm>
            <a:off x="5999584" y="4013876"/>
            <a:ext cx="38235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7088B0"/>
                </a:solidFill>
              </a:rPr>
              <a:t>An estimated </a:t>
            </a:r>
          </a:p>
          <a:p>
            <a:r>
              <a:rPr lang="en-US" sz="2400" b="1" dirty="0">
                <a:solidFill>
                  <a:srgbClr val="FF926B"/>
                </a:solidFill>
              </a:rPr>
              <a:t>$8 Billion </a:t>
            </a:r>
          </a:p>
          <a:p>
            <a:r>
              <a:rPr lang="en-US" sz="2400" b="1" dirty="0">
                <a:solidFill>
                  <a:srgbClr val="7088B0"/>
                </a:solidFill>
              </a:rPr>
              <a:t>was spent to diagnose &amp; treat PCOS just in the year 2020.</a:t>
            </a:r>
            <a:endParaRPr lang="en-US" sz="2400" b="1" baseline="30000" dirty="0">
              <a:solidFill>
                <a:srgbClr val="7088B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D4BFB5-B1FD-B8D6-3E61-CD6EFAB70727}"/>
              </a:ext>
            </a:extLst>
          </p:cNvPr>
          <p:cNvSpPr txBox="1"/>
          <p:nvPr/>
        </p:nvSpPr>
        <p:spPr>
          <a:xfrm>
            <a:off x="9363513" y="6446749"/>
            <a:ext cx="24397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7088B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ence to Endocrine Society</a:t>
            </a:r>
            <a:endParaRPr lang="en-US" sz="1100" dirty="0">
              <a:solidFill>
                <a:srgbClr val="7088B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C88DD79-22A0-C666-4768-966661C93F6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0888" y="24294"/>
            <a:ext cx="544674" cy="54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534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About th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AF4DA8-C3DF-3C72-7FDB-A0B2ADD89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316" y="2382531"/>
            <a:ext cx="5582975" cy="30385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092D20-8832-1654-A468-8DD30BE96654}"/>
              </a:ext>
            </a:extLst>
          </p:cNvPr>
          <p:cNvSpPr txBox="1"/>
          <p:nvPr/>
        </p:nvSpPr>
        <p:spPr>
          <a:xfrm>
            <a:off x="6620136" y="2056122"/>
            <a:ext cx="498254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926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 PCOS Data</a:t>
            </a:r>
            <a:r>
              <a:rPr lang="en-US" sz="2000" b="1" dirty="0">
                <a:solidFill>
                  <a:srgbClr val="FF926B"/>
                </a:solidFill>
              </a:rPr>
              <a:t> </a:t>
            </a:r>
            <a:r>
              <a:rPr lang="en-US" sz="2000" b="1" dirty="0">
                <a:solidFill>
                  <a:srgbClr val="7088B0"/>
                </a:solidFill>
              </a:rPr>
              <a:t>was collected from 10 different hospitals across Kerala, India. </a:t>
            </a:r>
          </a:p>
          <a:p>
            <a:endParaRPr lang="en-US" sz="2000" b="1" dirty="0">
              <a:solidFill>
                <a:srgbClr val="7088B0"/>
              </a:solidFill>
            </a:endParaRPr>
          </a:p>
          <a:p>
            <a:r>
              <a:rPr lang="en-US" sz="2000" b="1" dirty="0">
                <a:solidFill>
                  <a:srgbClr val="7088B0"/>
                </a:solidFill>
              </a:rPr>
              <a:t>Two different files containing </a:t>
            </a:r>
            <a:r>
              <a:rPr lang="en-US" sz="2000" b="1" dirty="0">
                <a:solidFill>
                  <a:srgbClr val="FF926B"/>
                </a:solidFill>
              </a:rPr>
              <a:t>infertility &amp; fertility patient data </a:t>
            </a:r>
            <a:r>
              <a:rPr lang="en-US" sz="2000" b="1" dirty="0">
                <a:solidFill>
                  <a:srgbClr val="7088B0"/>
                </a:solidFill>
              </a:rPr>
              <a:t>in a Comma Separated Value (CSV) file and an Excel file.</a:t>
            </a:r>
          </a:p>
          <a:p>
            <a:endParaRPr lang="en-US" sz="2000" b="1" dirty="0">
              <a:solidFill>
                <a:srgbClr val="7088B0"/>
              </a:solidFill>
            </a:endParaRPr>
          </a:p>
          <a:p>
            <a:r>
              <a:rPr lang="en-US" sz="2000" b="1" dirty="0">
                <a:solidFill>
                  <a:srgbClr val="FF926B"/>
                </a:solidFill>
              </a:rPr>
              <a:t>45 features </a:t>
            </a:r>
            <a:r>
              <a:rPr lang="en-US" sz="2000" b="1" dirty="0">
                <a:solidFill>
                  <a:srgbClr val="7088B0"/>
                </a:solidFill>
              </a:rPr>
              <a:t>included in the fertility dataset which includes various hormone levels from blood tests and symptoms of the patients.</a:t>
            </a:r>
          </a:p>
          <a:p>
            <a:endParaRPr lang="en-US" sz="2400" b="1" baseline="30000" dirty="0">
              <a:solidFill>
                <a:srgbClr val="7088B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366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Objectiv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D610797-3D23-4C1F-B662-1F4CBD325FC5}"/>
              </a:ext>
            </a:extLst>
          </p:cNvPr>
          <p:cNvSpPr txBox="1">
            <a:spLocks/>
          </p:cNvSpPr>
          <p:nvPr/>
        </p:nvSpPr>
        <p:spPr>
          <a:xfrm>
            <a:off x="2453482" y="3601611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BFBEB8-561F-445D-B118-92666EEDF9BF}"/>
              </a:ext>
            </a:extLst>
          </p:cNvPr>
          <p:cNvSpPr txBox="1">
            <a:spLocks/>
          </p:cNvSpPr>
          <p:nvPr/>
        </p:nvSpPr>
        <p:spPr>
          <a:xfrm>
            <a:off x="2453482" y="2464888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EEAF1-64A0-4CBD-AA41-E3D17655B644}"/>
              </a:ext>
            </a:extLst>
          </p:cNvPr>
          <p:cNvSpPr txBox="1"/>
          <p:nvPr/>
        </p:nvSpPr>
        <p:spPr>
          <a:xfrm>
            <a:off x="2889192" y="3670915"/>
            <a:ext cx="7861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Create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88B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tool </a:t>
            </a:r>
            <a:r>
              <a:rPr lang="en-US" sz="20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assist providers in diagnosing PCO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0CF4DD-CC95-488E-B659-EE1B39FC0448}"/>
              </a:ext>
            </a:extLst>
          </p:cNvPr>
          <p:cNvSpPr txBox="1"/>
          <p:nvPr/>
        </p:nvSpPr>
        <p:spPr>
          <a:xfrm>
            <a:off x="2889192" y="2534192"/>
            <a:ext cx="7861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Create a classification </a:t>
            </a:r>
            <a:r>
              <a:rPr lang="en-US" sz="2000" b="1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 which predicts the probability of PCOS diagnosis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6767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E54E0-D061-39DE-2462-9FDFF691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748" y="2040523"/>
            <a:ext cx="4611067" cy="430887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+mn-lt"/>
              </a:rPr>
              <a:t>Objective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EDC71-E486-45A5-1F27-E91466FFA99B}"/>
              </a:ext>
            </a:extLst>
          </p:cNvPr>
          <p:cNvSpPr txBox="1"/>
          <p:nvPr/>
        </p:nvSpPr>
        <p:spPr>
          <a:xfrm>
            <a:off x="493160" y="2583496"/>
            <a:ext cx="86431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eate 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classification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model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07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Model Creation Proces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7CE7DF5-8980-C73B-783E-C3DD6089E4FF}"/>
              </a:ext>
            </a:extLst>
          </p:cNvPr>
          <p:cNvSpPr/>
          <p:nvPr/>
        </p:nvSpPr>
        <p:spPr>
          <a:xfrm>
            <a:off x="212308" y="1934662"/>
            <a:ext cx="1943751" cy="798896"/>
          </a:xfrm>
          <a:prstGeom prst="round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reate `saturated_model`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B00BEAA-C0D3-28A9-62B1-77A91A348E2C}"/>
              </a:ext>
            </a:extLst>
          </p:cNvPr>
          <p:cNvSpPr/>
          <p:nvPr/>
        </p:nvSpPr>
        <p:spPr>
          <a:xfrm>
            <a:off x="2665144" y="1934662"/>
            <a:ext cx="1943751" cy="798896"/>
          </a:xfrm>
          <a:prstGeom prst="round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spect multi-collinearity with VIF.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46FC7B4-78B7-A5EF-B7A2-43C2C9693D4D}"/>
              </a:ext>
            </a:extLst>
          </p:cNvPr>
          <p:cNvSpPr/>
          <p:nvPr/>
        </p:nvSpPr>
        <p:spPr>
          <a:xfrm>
            <a:off x="5117980" y="1925037"/>
            <a:ext cx="1943751" cy="798896"/>
          </a:xfrm>
          <a:prstGeom prst="round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reate `</a:t>
            </a:r>
            <a:r>
              <a:rPr lang="en-US" sz="1400" dirty="0"/>
              <a:t>reduced_sat_model</a:t>
            </a:r>
            <a:r>
              <a:rPr lang="en-US" sz="1600" dirty="0"/>
              <a:t>` with VIF &lt; 5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9F28D71-E3DC-EC8D-4AAC-D740D75CFF34}"/>
              </a:ext>
            </a:extLst>
          </p:cNvPr>
          <p:cNvSpPr/>
          <p:nvPr/>
        </p:nvSpPr>
        <p:spPr>
          <a:xfrm>
            <a:off x="9921488" y="1922230"/>
            <a:ext cx="1943751" cy="798896"/>
          </a:xfrm>
          <a:prstGeom prst="round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onsider smaller model for further analysis.</a:t>
            </a:r>
          </a:p>
        </p:txBody>
      </p:sp>
      <p:sp>
        <p:nvSpPr>
          <p:cNvPr id="26" name="Flowchart: Decision 25">
            <a:extLst>
              <a:ext uri="{FF2B5EF4-FFF2-40B4-BE49-F238E27FC236}">
                <a16:creationId xmlns:a16="http://schemas.microsoft.com/office/drawing/2014/main" id="{93F8D87F-A111-E66D-8105-9096513025AE}"/>
              </a:ext>
            </a:extLst>
          </p:cNvPr>
          <p:cNvSpPr/>
          <p:nvPr/>
        </p:nvSpPr>
        <p:spPr>
          <a:xfrm>
            <a:off x="7468652" y="1902177"/>
            <a:ext cx="1943751" cy="844616"/>
          </a:xfrm>
          <a:prstGeom prst="flowChartDecision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rop in Deviance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1A93843-88A1-E4E3-FF15-473EFB15914D}"/>
              </a:ext>
            </a:extLst>
          </p:cNvPr>
          <p:cNvSpPr/>
          <p:nvPr/>
        </p:nvSpPr>
        <p:spPr>
          <a:xfrm>
            <a:off x="7468651" y="3438208"/>
            <a:ext cx="1943751" cy="798896"/>
          </a:xfrm>
          <a:prstGeom prst="round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onsider larger model for further analysis.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ABD4753-E70D-7F1A-1ACB-D3F47481A5FD}"/>
              </a:ext>
            </a:extLst>
          </p:cNvPr>
          <p:cNvCxnSpPr>
            <a:stCxn id="17" idx="3"/>
            <a:endCxn id="18" idx="1"/>
          </p:cNvCxnSpPr>
          <p:nvPr/>
        </p:nvCxnSpPr>
        <p:spPr>
          <a:xfrm>
            <a:off x="2156059" y="2334110"/>
            <a:ext cx="509085" cy="0"/>
          </a:xfrm>
          <a:prstGeom prst="straightConnector1">
            <a:avLst/>
          </a:prstGeom>
          <a:ln w="38100">
            <a:solidFill>
              <a:srgbClr val="FF926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A3AABC6-BC33-A5D7-EBB4-1A64DD4C836B}"/>
              </a:ext>
            </a:extLst>
          </p:cNvPr>
          <p:cNvCxnSpPr/>
          <p:nvPr/>
        </p:nvCxnSpPr>
        <p:spPr>
          <a:xfrm>
            <a:off x="4608895" y="2347345"/>
            <a:ext cx="509085" cy="0"/>
          </a:xfrm>
          <a:prstGeom prst="straightConnector1">
            <a:avLst/>
          </a:prstGeom>
          <a:ln w="38100">
            <a:solidFill>
              <a:srgbClr val="FF926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9684874-DB2B-2586-DCF6-BF3CFC3B85D9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7061731" y="2321678"/>
            <a:ext cx="406921" cy="2807"/>
          </a:xfrm>
          <a:prstGeom prst="straightConnector1">
            <a:avLst/>
          </a:prstGeom>
          <a:ln w="38100">
            <a:solidFill>
              <a:srgbClr val="FF926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8FA46BC-2800-D470-D59D-6800A8532826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8440526" y="2753811"/>
            <a:ext cx="1" cy="684397"/>
          </a:xfrm>
          <a:prstGeom prst="straightConnector1">
            <a:avLst/>
          </a:prstGeom>
          <a:ln w="38100">
            <a:solidFill>
              <a:srgbClr val="FF926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A5CC5F9-F41E-F89D-C4CB-022CDDAEDA36}"/>
              </a:ext>
            </a:extLst>
          </p:cNvPr>
          <p:cNvCxnSpPr>
            <a:cxnSpLocks/>
            <a:stCxn id="26" idx="3"/>
            <a:endCxn id="21" idx="1"/>
          </p:cNvCxnSpPr>
          <p:nvPr/>
        </p:nvCxnSpPr>
        <p:spPr>
          <a:xfrm flipV="1">
            <a:off x="9412403" y="2321678"/>
            <a:ext cx="509085" cy="2807"/>
          </a:xfrm>
          <a:prstGeom prst="straightConnector1">
            <a:avLst/>
          </a:prstGeom>
          <a:ln w="38100">
            <a:solidFill>
              <a:srgbClr val="FF926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3A84B591-ED63-281C-B305-7EAD583D5B52}"/>
              </a:ext>
            </a:extLst>
          </p:cNvPr>
          <p:cNvSpPr txBox="1"/>
          <p:nvPr/>
        </p:nvSpPr>
        <p:spPr>
          <a:xfrm>
            <a:off x="9301410" y="1880102"/>
            <a:ext cx="6711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P-value </a:t>
            </a:r>
          </a:p>
          <a:p>
            <a:r>
              <a:rPr lang="en-US" sz="1050" b="1" dirty="0"/>
              <a:t>&gt; 0.0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6943D32-A0E5-558F-B611-FCD2CAE18D09}"/>
              </a:ext>
            </a:extLst>
          </p:cNvPr>
          <p:cNvSpPr txBox="1"/>
          <p:nvPr/>
        </p:nvSpPr>
        <p:spPr>
          <a:xfrm>
            <a:off x="8440526" y="2809226"/>
            <a:ext cx="6711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P-value </a:t>
            </a:r>
          </a:p>
          <a:p>
            <a:r>
              <a:rPr lang="en-US" sz="1050" b="1" dirty="0"/>
              <a:t>&lt; 0.05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6488632-6406-07B5-5886-E3C461454CBC}"/>
              </a:ext>
            </a:extLst>
          </p:cNvPr>
          <p:cNvSpPr txBox="1">
            <a:spLocks/>
          </p:cNvSpPr>
          <p:nvPr/>
        </p:nvSpPr>
        <p:spPr>
          <a:xfrm>
            <a:off x="4587191" y="5350827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2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566CCDA-8F9D-E3A7-633F-8BAA46BF894B}"/>
              </a:ext>
            </a:extLst>
          </p:cNvPr>
          <p:cNvSpPr txBox="1">
            <a:spLocks/>
          </p:cNvSpPr>
          <p:nvPr/>
        </p:nvSpPr>
        <p:spPr>
          <a:xfrm>
            <a:off x="4587191" y="4590023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712DC0-8D98-6BAD-BA24-AD655A8A16BF}"/>
              </a:ext>
            </a:extLst>
          </p:cNvPr>
          <p:cNvSpPr txBox="1"/>
          <p:nvPr/>
        </p:nvSpPr>
        <p:spPr>
          <a:xfrm>
            <a:off x="4879063" y="5481336"/>
            <a:ext cx="4843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onduct drop in deviance to compare models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2A4F06C-4B99-5DCE-40A8-9C41EF1347ED}"/>
              </a:ext>
            </a:extLst>
          </p:cNvPr>
          <p:cNvSpPr txBox="1"/>
          <p:nvPr/>
        </p:nvSpPr>
        <p:spPr>
          <a:xfrm>
            <a:off x="4879063" y="4708925"/>
            <a:ext cx="5391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reate a large model &amp; nested model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B3A70C6-2508-2921-CDD7-751E84A351A9}"/>
              </a:ext>
            </a:extLst>
          </p:cNvPr>
          <p:cNvSpPr txBox="1">
            <a:spLocks/>
          </p:cNvSpPr>
          <p:nvPr/>
        </p:nvSpPr>
        <p:spPr>
          <a:xfrm>
            <a:off x="4587191" y="6111631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16BD15-909F-7902-666E-913AAD761E47}"/>
              </a:ext>
            </a:extLst>
          </p:cNvPr>
          <p:cNvSpPr txBox="1"/>
          <p:nvPr/>
        </p:nvSpPr>
        <p:spPr>
          <a:xfrm>
            <a:off x="4965689" y="6225822"/>
            <a:ext cx="4843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Evaluate models.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0F9941E6-CC6C-5582-20DC-59AC95B192D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6980" y="4654216"/>
            <a:ext cx="1334275" cy="133427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02F78A52-F199-ADB4-BB1E-5C4CAC0CB124}"/>
              </a:ext>
            </a:extLst>
          </p:cNvPr>
          <p:cNvSpPr/>
          <p:nvPr/>
        </p:nvSpPr>
        <p:spPr>
          <a:xfrm>
            <a:off x="3106979" y="4590023"/>
            <a:ext cx="6194431" cy="1521608"/>
          </a:xfrm>
          <a:prstGeom prst="roundRect">
            <a:avLst/>
          </a:prstGeom>
          <a:noFill/>
          <a:ln>
            <a:solidFill>
              <a:srgbClr val="202A4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32655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Model Creation Proces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D610797-3D23-4C1F-B662-1F4CBD325FC5}"/>
              </a:ext>
            </a:extLst>
          </p:cNvPr>
          <p:cNvSpPr txBox="1">
            <a:spLocks/>
          </p:cNvSpPr>
          <p:nvPr/>
        </p:nvSpPr>
        <p:spPr>
          <a:xfrm>
            <a:off x="551490" y="2679613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BFBEB8-561F-445D-B118-92666EEDF9BF}"/>
              </a:ext>
            </a:extLst>
          </p:cNvPr>
          <p:cNvSpPr txBox="1">
            <a:spLocks/>
          </p:cNvSpPr>
          <p:nvPr/>
        </p:nvSpPr>
        <p:spPr>
          <a:xfrm>
            <a:off x="551490" y="1886593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EEAF1-64A0-4CBD-AA41-E3D17655B644}"/>
              </a:ext>
            </a:extLst>
          </p:cNvPr>
          <p:cNvSpPr txBox="1"/>
          <p:nvPr/>
        </p:nvSpPr>
        <p:spPr>
          <a:xfrm>
            <a:off x="823422" y="2727980"/>
            <a:ext cx="4843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‘reduced_sat_model` with features with VIF &lt; 5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0CF4DD-CC95-488E-B659-EE1B39FC0448}"/>
              </a:ext>
            </a:extLst>
          </p:cNvPr>
          <p:cNvSpPr txBox="1"/>
          <p:nvPr/>
        </p:nvSpPr>
        <p:spPr>
          <a:xfrm>
            <a:off x="823422" y="2036964"/>
            <a:ext cx="5391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reate a `saturated_model`. 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081A517-9093-D557-CCC8-72422DDB4CF3}"/>
              </a:ext>
            </a:extLst>
          </p:cNvPr>
          <p:cNvSpPr txBox="1">
            <a:spLocks/>
          </p:cNvSpPr>
          <p:nvPr/>
        </p:nvSpPr>
        <p:spPr>
          <a:xfrm>
            <a:off x="531550" y="3493029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591BBB-A255-D29D-7DE4-7420290AB989}"/>
              </a:ext>
            </a:extLst>
          </p:cNvPr>
          <p:cNvSpPr txBox="1"/>
          <p:nvPr/>
        </p:nvSpPr>
        <p:spPr>
          <a:xfrm>
            <a:off x="823422" y="3482521"/>
            <a:ext cx="45630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ompare `reduced_sat_model` with the `saturated_model` using drop in deviance.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290F4D9-BEAC-015B-CB40-97F663783D98}"/>
              </a:ext>
            </a:extLst>
          </p:cNvPr>
          <p:cNvSpPr txBox="1">
            <a:spLocks/>
          </p:cNvSpPr>
          <p:nvPr/>
        </p:nvSpPr>
        <p:spPr>
          <a:xfrm>
            <a:off x="531550" y="4421034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4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6FABC1B-3510-2650-3651-10ED879985EC}"/>
              </a:ext>
            </a:extLst>
          </p:cNvPr>
          <p:cNvSpPr txBox="1">
            <a:spLocks/>
          </p:cNvSpPr>
          <p:nvPr/>
        </p:nvSpPr>
        <p:spPr>
          <a:xfrm>
            <a:off x="531550" y="5330722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EE4623-97CD-7A49-C2EE-8E3495CE2A5D}"/>
              </a:ext>
            </a:extLst>
          </p:cNvPr>
          <p:cNvSpPr txBox="1"/>
          <p:nvPr/>
        </p:nvSpPr>
        <p:spPr>
          <a:xfrm>
            <a:off x="823422" y="5337913"/>
            <a:ext cx="43650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mpare `reduced_sat_model` to `no_follicle_no_r models using drop in devianc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19C5807-BD40-969F-836A-5E24A6E2EF19}"/>
              </a:ext>
            </a:extLst>
          </p:cNvPr>
          <p:cNvSpPr txBox="1">
            <a:spLocks/>
          </p:cNvSpPr>
          <p:nvPr/>
        </p:nvSpPr>
        <p:spPr>
          <a:xfrm>
            <a:off x="5732763" y="1853400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AEB6BC-007A-9FD4-CD5D-E1BADBAA8DBE}"/>
              </a:ext>
            </a:extLst>
          </p:cNvPr>
          <p:cNvSpPr txBox="1"/>
          <p:nvPr/>
        </p:nvSpPr>
        <p:spPr>
          <a:xfrm>
            <a:off x="6214535" y="1953482"/>
            <a:ext cx="5004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model containing all significant features of previous models, `sig_feat_model</a:t>
            </a:r>
            <a:r>
              <a:rPr lang="en-US" sz="16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`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8EF4007-1E58-E285-FF91-CD54A3386032}"/>
              </a:ext>
            </a:extLst>
          </p:cNvPr>
          <p:cNvSpPr/>
          <p:nvPr/>
        </p:nvSpPr>
        <p:spPr>
          <a:xfrm>
            <a:off x="284691" y="1701800"/>
            <a:ext cx="11631385" cy="4660499"/>
          </a:xfrm>
          <a:prstGeom prst="roundRect">
            <a:avLst/>
          </a:prstGeom>
          <a:noFill/>
          <a:ln>
            <a:solidFill>
              <a:srgbClr val="202A4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786B48-5262-5AB0-7CB9-4DB8D8A72E94}"/>
              </a:ext>
            </a:extLst>
          </p:cNvPr>
          <p:cNvSpPr txBox="1">
            <a:spLocks/>
          </p:cNvSpPr>
          <p:nvPr/>
        </p:nvSpPr>
        <p:spPr>
          <a:xfrm>
            <a:off x="6695922" y="1998344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926B"/>
              </a:solidFill>
              <a:effectLst/>
              <a:uLnTx/>
              <a:uFillTx/>
              <a:latin typeface="Roboto Medium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C0D795-F16C-F2E0-55B4-C3188F656479}"/>
              </a:ext>
            </a:extLst>
          </p:cNvPr>
          <p:cNvSpPr txBox="1"/>
          <p:nvPr/>
        </p:nvSpPr>
        <p:spPr>
          <a:xfrm>
            <a:off x="823422" y="4167024"/>
            <a:ext cx="44883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Using the ‘reduced_sat_model` as a base model, remove the most significant feature ‘Follicle_No_R` creating `no_follicle_no_r` model.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3163B21-BAD9-196B-2BA5-4FB50E8F73EA}"/>
              </a:ext>
            </a:extLst>
          </p:cNvPr>
          <p:cNvSpPr txBox="1">
            <a:spLocks/>
          </p:cNvSpPr>
          <p:nvPr/>
        </p:nvSpPr>
        <p:spPr>
          <a:xfrm>
            <a:off x="5732430" y="2650873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B430392-3C66-17C9-556D-20D7A60E040A}"/>
              </a:ext>
            </a:extLst>
          </p:cNvPr>
          <p:cNvSpPr txBox="1"/>
          <p:nvPr/>
        </p:nvSpPr>
        <p:spPr>
          <a:xfrm>
            <a:off x="6214202" y="2647969"/>
            <a:ext cx="54459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ompare `sig_feat_model1` and `reduced_sat_model` using drop in deviance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96FE9AA-9EC6-2476-CCF3-09483EC454F8}"/>
              </a:ext>
            </a:extLst>
          </p:cNvPr>
          <p:cNvSpPr txBox="1">
            <a:spLocks/>
          </p:cNvSpPr>
          <p:nvPr/>
        </p:nvSpPr>
        <p:spPr>
          <a:xfrm>
            <a:off x="5732430" y="3483484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4000" b="1" dirty="0">
                <a:solidFill>
                  <a:srgbClr val="FF926B"/>
                </a:solidFill>
                <a:latin typeface="Roboto Medium"/>
              </a:rPr>
              <a:t>8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926B"/>
              </a:solidFill>
              <a:effectLst/>
              <a:uLnTx/>
              <a:uFillTx/>
              <a:latin typeface="Roboto Medium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5EB819B-F4F8-965A-F709-386DF449D927}"/>
              </a:ext>
            </a:extLst>
          </p:cNvPr>
          <p:cNvSpPr txBox="1"/>
          <p:nvPr/>
        </p:nvSpPr>
        <p:spPr>
          <a:xfrm>
            <a:off x="6193038" y="3460455"/>
            <a:ext cx="54459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smaller model of only significant features of `sig_feat_model1` to create `sig_feat_model2`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BC7E08F-A0A0-6735-6A12-20561E8B81FC}"/>
              </a:ext>
            </a:extLst>
          </p:cNvPr>
          <p:cNvSpPr txBox="1">
            <a:spLocks/>
          </p:cNvSpPr>
          <p:nvPr/>
        </p:nvSpPr>
        <p:spPr>
          <a:xfrm>
            <a:off x="5725853" y="4369020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9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D209C6-4181-A859-1330-2CD687348251}"/>
              </a:ext>
            </a:extLst>
          </p:cNvPr>
          <p:cNvSpPr txBox="1"/>
          <p:nvPr/>
        </p:nvSpPr>
        <p:spPr>
          <a:xfrm>
            <a:off x="6213999" y="4398006"/>
            <a:ext cx="54459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ompare `sig_feat_model2` and `sig_feat_model1` with drop in deviance. 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20D9543-DCDD-33F3-5F85-5C881344318F}"/>
              </a:ext>
            </a:extLst>
          </p:cNvPr>
          <p:cNvSpPr txBox="1">
            <a:spLocks/>
          </p:cNvSpPr>
          <p:nvPr/>
        </p:nvSpPr>
        <p:spPr>
          <a:xfrm>
            <a:off x="5612497" y="5308372"/>
            <a:ext cx="580541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4000" b="1" dirty="0">
                <a:solidFill>
                  <a:srgbClr val="FF926B"/>
                </a:solidFill>
                <a:latin typeface="Roboto Medium"/>
              </a:rPr>
              <a:t>10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926B"/>
              </a:solidFill>
              <a:effectLst/>
              <a:uLnTx/>
              <a:uFillTx/>
              <a:latin typeface="Roboto Medium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E46A7A0-238D-D2A1-DFF2-6524AE11F023}"/>
              </a:ext>
            </a:extLst>
          </p:cNvPr>
          <p:cNvSpPr txBox="1"/>
          <p:nvPr/>
        </p:nvSpPr>
        <p:spPr>
          <a:xfrm>
            <a:off x="6248696" y="5330722"/>
            <a:ext cx="54459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model using forward selection using AIC to compare as a final step.</a:t>
            </a:r>
          </a:p>
        </p:txBody>
      </p:sp>
    </p:spTree>
    <p:extLst>
      <p:ext uri="{BB962C8B-B14F-4D97-AF65-F5344CB8AC3E}">
        <p14:creationId xmlns:p14="http://schemas.microsoft.com/office/powerpoint/2010/main" val="782457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Model Evalu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41F4E4-F86E-616A-9A34-6FA6052BB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1768712"/>
            <a:ext cx="11339263" cy="1974191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6D95FE1-F659-6CD5-5089-136E51A0F4B7}"/>
              </a:ext>
            </a:extLst>
          </p:cNvPr>
          <p:cNvSpPr/>
          <p:nvPr/>
        </p:nvSpPr>
        <p:spPr>
          <a:xfrm>
            <a:off x="404813" y="3226084"/>
            <a:ext cx="11339263" cy="242999"/>
          </a:xfrm>
          <a:prstGeom prst="roundRect">
            <a:avLst/>
          </a:prstGeom>
          <a:noFill/>
          <a:ln w="38100">
            <a:solidFill>
              <a:srgbClr val="FF92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693092C-9F66-86FB-CDB3-80AA28ADA408}"/>
              </a:ext>
            </a:extLst>
          </p:cNvPr>
          <p:cNvSpPr txBox="1"/>
          <p:nvPr/>
        </p:nvSpPr>
        <p:spPr>
          <a:xfrm>
            <a:off x="1109609" y="4150760"/>
            <a:ext cx="1001730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7088B0"/>
                </a:solidFill>
              </a:rPr>
              <a:t>Sig_feat_model2 </a:t>
            </a:r>
            <a:r>
              <a:rPr lang="en-US" sz="2000" dirty="0"/>
              <a:t>which uses 8 features is the model I chose to create the Shiny Web Application due to the simplicity while giving satisfactory metrics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Sig_feat_model1 </a:t>
            </a:r>
            <a:r>
              <a:rPr lang="en-US" sz="2000" dirty="0"/>
              <a:t>or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forwardAIC_model </a:t>
            </a:r>
            <a:r>
              <a:rPr lang="en-US" sz="2000" dirty="0"/>
              <a:t>would be a great choice for creating the next iteration of the Shiny Web Application</a:t>
            </a:r>
          </a:p>
        </p:txBody>
      </p:sp>
    </p:spTree>
    <p:extLst>
      <p:ext uri="{BB962C8B-B14F-4D97-AF65-F5344CB8AC3E}">
        <p14:creationId xmlns:p14="http://schemas.microsoft.com/office/powerpoint/2010/main" val="23432294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E54E0-D061-39DE-2462-9FDFF691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748" y="2040523"/>
            <a:ext cx="4611067" cy="430887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+mn-lt"/>
              </a:rPr>
              <a:t>Objective 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EDC71-E486-45A5-1F27-E91466FFA99B}"/>
              </a:ext>
            </a:extLst>
          </p:cNvPr>
          <p:cNvSpPr txBox="1"/>
          <p:nvPr/>
        </p:nvSpPr>
        <p:spPr>
          <a:xfrm>
            <a:off x="493160" y="2583496"/>
            <a:ext cx="86431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Create a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ea typeface="+mn-ea"/>
                <a:cs typeface="+mn-cs"/>
              </a:rPr>
              <a:t>diagnostic tool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for providers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640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Roboto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ésentation11" id="{18B0FA0E-52BA-4F3F-B2FD-88B4C8061DF8}" vid="{6634CB38-2CA3-42B5-9F43-E11F89D9B245}"/>
    </a:ext>
  </a:extLst>
</a:theme>
</file>

<file path=ppt/theme/theme2.xml><?xml version="1.0" encoding="utf-8"?>
<a:theme xmlns:a="http://schemas.openxmlformats.org/drawingml/2006/main" name="2_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Roboto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ésentation11" id="{18B0FA0E-52BA-4F3F-B2FD-88B4C8061DF8}" vid="{6634CB38-2CA3-42B5-9F43-E11F89D9B24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46</TotalTime>
  <Words>812</Words>
  <Application>Microsoft Office PowerPoint</Application>
  <PresentationFormat>Widescreen</PresentationFormat>
  <Paragraphs>100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Roboto</vt:lpstr>
      <vt:lpstr>Roboto Medium</vt:lpstr>
      <vt:lpstr>Ubuntu</vt:lpstr>
      <vt:lpstr>Ubuntu Light</vt:lpstr>
      <vt:lpstr>Wingdings</vt:lpstr>
      <vt:lpstr>1_Capgemini Master 2021</vt:lpstr>
      <vt:lpstr>2_Capgemini Master 2021</vt:lpstr>
      <vt:lpstr>think-cell Slide</vt:lpstr>
      <vt:lpstr>Polycystic Ovarian Syndrome Diagnostic  Tool </vt:lpstr>
      <vt:lpstr>What you should know about </vt:lpstr>
      <vt:lpstr>About the data</vt:lpstr>
      <vt:lpstr>Objectives</vt:lpstr>
      <vt:lpstr>PowerPoint Presentation</vt:lpstr>
      <vt:lpstr>Model Creation Process</vt:lpstr>
      <vt:lpstr>Model Creation Process</vt:lpstr>
      <vt:lpstr>Model Evalu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cystic Ovarian Syndrome</dc:title>
  <dc:creator>sarah-beth.powell@outlook.com</dc:creator>
  <cp:lastModifiedBy>sarah-beth.powell@outlook.com</cp:lastModifiedBy>
  <cp:revision>2</cp:revision>
  <dcterms:created xsi:type="dcterms:W3CDTF">2022-11-02T21:57:11Z</dcterms:created>
  <dcterms:modified xsi:type="dcterms:W3CDTF">2023-01-07T22:57:40Z</dcterms:modified>
</cp:coreProperties>
</file>